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40"/>
  </p:notesMasterIdLst>
  <p:handoutMasterIdLst>
    <p:handoutMasterId r:id="rId41"/>
  </p:handoutMasterIdLst>
  <p:sldIdLst>
    <p:sldId id="2146848417" r:id="rId5"/>
    <p:sldId id="2147482625" r:id="rId6"/>
    <p:sldId id="2146848485" r:id="rId7"/>
    <p:sldId id="2146848521" r:id="rId8"/>
    <p:sldId id="2146848267" r:id="rId9"/>
    <p:sldId id="2147482626" r:id="rId10"/>
    <p:sldId id="2147482627" r:id="rId11"/>
    <p:sldId id="2147482628" r:id="rId12"/>
    <p:sldId id="2147482629" r:id="rId13"/>
    <p:sldId id="2147482630" r:id="rId14"/>
    <p:sldId id="306" r:id="rId15"/>
    <p:sldId id="2147477343" r:id="rId16"/>
    <p:sldId id="2146847858" r:id="rId17"/>
    <p:sldId id="2147477342" r:id="rId18"/>
    <p:sldId id="2146848510" r:id="rId19"/>
    <p:sldId id="2146848513" r:id="rId20"/>
    <p:sldId id="2146848515" r:id="rId21"/>
    <p:sldId id="2146848495" r:id="rId22"/>
    <p:sldId id="2147482632" r:id="rId23"/>
    <p:sldId id="2147482633" r:id="rId24"/>
    <p:sldId id="2147482634" r:id="rId25"/>
    <p:sldId id="2147482635" r:id="rId26"/>
    <p:sldId id="2146848519" r:id="rId27"/>
    <p:sldId id="2147482618" r:id="rId28"/>
    <p:sldId id="2147482623" r:id="rId29"/>
    <p:sldId id="2147482636" r:id="rId30"/>
    <p:sldId id="2147482637" r:id="rId31"/>
    <p:sldId id="2147482624" r:id="rId32"/>
    <p:sldId id="2147482622" r:id="rId33"/>
    <p:sldId id="2147482639" r:id="rId34"/>
    <p:sldId id="2147482640" r:id="rId35"/>
    <p:sldId id="2147482638" r:id="rId36"/>
    <p:sldId id="2147482631" r:id="rId37"/>
    <p:sldId id="2146848509" r:id="rId38"/>
    <p:sldId id="2007577785"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預設章節" id="{71BE07F8-1965-4B70-A1F0-72EB07C164EB}">
          <p14:sldIdLst>
            <p14:sldId id="2146848417"/>
            <p14:sldId id="2147482625"/>
          </p14:sldIdLst>
        </p14:section>
        <p14:section name="Introduction" id="{A08160BC-4656-4BD7-81C2-F858B3A85C45}">
          <p14:sldIdLst>
            <p14:sldId id="2146848485"/>
            <p14:sldId id="2146848521"/>
            <p14:sldId id="2146848267"/>
            <p14:sldId id="2147482626"/>
            <p14:sldId id="2147482627"/>
            <p14:sldId id="2147482628"/>
            <p14:sldId id="2147482629"/>
            <p14:sldId id="2147482630"/>
            <p14:sldId id="306"/>
            <p14:sldId id="2147477343"/>
            <p14:sldId id="2146847858"/>
            <p14:sldId id="2147477342"/>
            <p14:sldId id="2146848510"/>
            <p14:sldId id="2146848513"/>
            <p14:sldId id="2146848515"/>
            <p14:sldId id="2146848495"/>
            <p14:sldId id="2147482632"/>
            <p14:sldId id="2147482633"/>
            <p14:sldId id="2147482634"/>
            <p14:sldId id="2147482635"/>
            <p14:sldId id="2146848519"/>
          </p14:sldIdLst>
        </p14:section>
        <p14:section name="COC" id="{E91CCF22-8A19-4800-8461-917851A21148}">
          <p14:sldIdLst>
            <p14:sldId id="2147482618"/>
            <p14:sldId id="2147482623"/>
            <p14:sldId id="2147482636"/>
            <p14:sldId id="2147482637"/>
            <p14:sldId id="2147482624"/>
            <p14:sldId id="2147482622"/>
            <p14:sldId id="2147482639"/>
            <p14:sldId id="2147482640"/>
            <p14:sldId id="2147482638"/>
            <p14:sldId id="2147482631"/>
            <p14:sldId id="2146848509"/>
            <p14:sldId id="200757778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D8CA"/>
    <a:srgbClr val="FEECD1"/>
    <a:srgbClr val="F5D020"/>
    <a:srgbClr val="FFFFFF"/>
    <a:srgbClr val="F99F1B"/>
    <a:srgbClr val="FFD800"/>
    <a:srgbClr val="F3F5A3"/>
    <a:srgbClr val="99FF99"/>
    <a:srgbClr val="33CC33"/>
    <a:srgbClr val="CCF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41CB32-D448-E25C-6F05-56C2153C8817}" v="8" dt="2024-10-16T00:40:43.655"/>
    <p1510:client id="{73D41C37-5029-4B02-8776-0F438AA90C32}" v="504" dt="2024-10-16T07:43:28.542"/>
    <p1510:client id="{FA982C32-90E6-49A0-B1C8-E534252F3BB7}" v="769" dt="2024-10-16T06:20:09.1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中等深淺樣式 4 - 輔色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中等深淺樣式 1 - 輔色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3296810-A885-4BE3-A3E7-6D5BEEA58F35}" styleName="中等深淺樣式 2 - 輔色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B9631B5-78F2-41C9-869B-9F39066F8104}" styleName="中等深淺樣式 3 - 輔色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2A488322-F2BA-4B5B-9748-0D474271808F}" styleName="中等深淺樣式 3 - 輔色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中等深淺樣式 3 - 輔色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0A15C55-8517-42AA-B614-E9B94910E393}" styleName="中等深淺樣式 2 - 輔色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中等深淺樣式 1 - 輔色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中等深淺樣式 1 - 輔色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6307" autoAdjust="0"/>
  </p:normalViewPr>
  <p:slideViewPr>
    <p:cSldViewPr snapToGrid="0">
      <p:cViewPr varScale="1">
        <p:scale>
          <a:sx n="74" d="100"/>
          <a:sy n="74" d="100"/>
        </p:scale>
        <p:origin x="195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6/11/relationships/changesInfo" Target="changesInfos/changesInfo1.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becca Liu 劉依茹" userId="28e4d197-e403-4e73-946f-379830aa94f1" providerId="ADAL" clId="{3E6EC4DE-62C6-4185-A04C-3D8F0EDDE26F}"/>
    <pc:docChg chg="undo custSel addSld delSld modSld sldOrd modSection">
      <pc:chgData name="Rebecca Liu 劉依茹" userId="28e4d197-e403-4e73-946f-379830aa94f1" providerId="ADAL" clId="{3E6EC4DE-62C6-4185-A04C-3D8F0EDDE26F}" dt="2024-09-23T07:41:19.200" v="1929" actId="20577"/>
      <pc:docMkLst>
        <pc:docMk/>
      </pc:docMkLst>
      <pc:sldChg chg="delSp modSp mod">
        <pc:chgData name="Rebecca Liu 劉依茹" userId="28e4d197-e403-4e73-946f-379830aa94f1" providerId="ADAL" clId="{3E6EC4DE-62C6-4185-A04C-3D8F0EDDE26F}" dt="2024-09-23T07:41:19.200" v="1929" actId="20577"/>
        <pc:sldMkLst>
          <pc:docMk/>
          <pc:sldMk cId="1520278281" sldId="2007577785"/>
        </pc:sldMkLst>
        <pc:spChg chg="mod">
          <ac:chgData name="Rebecca Liu 劉依茹" userId="28e4d197-e403-4e73-946f-379830aa94f1" providerId="ADAL" clId="{3E6EC4DE-62C6-4185-A04C-3D8F0EDDE26F}" dt="2024-09-23T07:41:19.200" v="1929" actId="20577"/>
          <ac:spMkLst>
            <pc:docMk/>
            <pc:sldMk cId="1520278281" sldId="2007577785"/>
            <ac:spMk id="2" creationId="{C1B62E24-8C38-BE41-6B3C-6684AFCF75D2}"/>
          </ac:spMkLst>
        </pc:spChg>
        <pc:spChg chg="del">
          <ac:chgData name="Rebecca Liu 劉依茹" userId="28e4d197-e403-4e73-946f-379830aa94f1" providerId="ADAL" clId="{3E6EC4DE-62C6-4185-A04C-3D8F0EDDE26F}" dt="2024-09-23T06:58:20.535" v="1892" actId="478"/>
          <ac:spMkLst>
            <pc:docMk/>
            <pc:sldMk cId="1520278281" sldId="2007577785"/>
            <ac:spMk id="4" creationId="{52630D75-4FB7-3C67-7A5F-E96678781535}"/>
          </ac:spMkLst>
        </pc:spChg>
      </pc:sldChg>
      <pc:sldChg chg="modSp mod">
        <pc:chgData name="Rebecca Liu 劉依茹" userId="28e4d197-e403-4e73-946f-379830aa94f1" providerId="ADAL" clId="{3E6EC4DE-62C6-4185-A04C-3D8F0EDDE26F}" dt="2024-09-23T06:59:49.224" v="1908" actId="20577"/>
        <pc:sldMkLst>
          <pc:docMk/>
          <pc:sldMk cId="3081708709" sldId="2146848417"/>
        </pc:sldMkLst>
        <pc:spChg chg="mod">
          <ac:chgData name="Rebecca Liu 劉依茹" userId="28e4d197-e403-4e73-946f-379830aa94f1" providerId="ADAL" clId="{3E6EC4DE-62C6-4185-A04C-3D8F0EDDE26F}" dt="2024-09-23T06:59:49.224" v="1908" actId="20577"/>
          <ac:spMkLst>
            <pc:docMk/>
            <pc:sldMk cId="3081708709" sldId="2146848417"/>
            <ac:spMk id="3" creationId="{D4E5B847-002C-11A6-29F1-D3289766DD06}"/>
          </ac:spMkLst>
        </pc:spChg>
      </pc:sldChg>
      <pc:sldChg chg="mod modShow">
        <pc:chgData name="Rebecca Liu 劉依茹" userId="28e4d197-e403-4e73-946f-379830aa94f1" providerId="ADAL" clId="{3E6EC4DE-62C6-4185-A04C-3D8F0EDDE26F}" dt="2024-09-23T00:58:16.653" v="38" actId="729"/>
        <pc:sldMkLst>
          <pc:docMk/>
          <pc:sldMk cId="2875867912" sldId="2146848476"/>
        </pc:sldMkLst>
      </pc:sldChg>
      <pc:sldChg chg="modSp mod">
        <pc:chgData name="Rebecca Liu 劉依茹" userId="28e4d197-e403-4e73-946f-379830aa94f1" providerId="ADAL" clId="{3E6EC4DE-62C6-4185-A04C-3D8F0EDDE26F}" dt="2024-09-23T06:50:12.484" v="1785" actId="20577"/>
        <pc:sldMkLst>
          <pc:docMk/>
          <pc:sldMk cId="1349055783" sldId="2146848485"/>
        </pc:sldMkLst>
        <pc:spChg chg="mod">
          <ac:chgData name="Rebecca Liu 劉依茹" userId="28e4d197-e403-4e73-946f-379830aa94f1" providerId="ADAL" clId="{3E6EC4DE-62C6-4185-A04C-3D8F0EDDE26F}" dt="2024-09-23T06:50:12.484" v="1785" actId="20577"/>
          <ac:spMkLst>
            <pc:docMk/>
            <pc:sldMk cId="1349055783" sldId="2146848485"/>
            <ac:spMk id="8" creationId="{0CC0BC93-FAE7-3F66-DB1F-AB053AE3CBA5}"/>
          </ac:spMkLst>
        </pc:spChg>
      </pc:sldChg>
      <pc:sldChg chg="mod modShow">
        <pc:chgData name="Rebecca Liu 劉依茹" userId="28e4d197-e403-4e73-946f-379830aa94f1" providerId="ADAL" clId="{3E6EC4DE-62C6-4185-A04C-3D8F0EDDE26F}" dt="2024-09-23T01:07:07.059" v="47" actId="729"/>
        <pc:sldMkLst>
          <pc:docMk/>
          <pc:sldMk cId="635439972" sldId="2146848492"/>
        </pc:sldMkLst>
      </pc:sldChg>
      <pc:sldChg chg="mod modShow">
        <pc:chgData name="Rebecca Liu 劉依茹" userId="28e4d197-e403-4e73-946f-379830aa94f1" providerId="ADAL" clId="{3E6EC4DE-62C6-4185-A04C-3D8F0EDDE26F}" dt="2024-09-23T01:13:15.988" v="58" actId="729"/>
        <pc:sldMkLst>
          <pc:docMk/>
          <pc:sldMk cId="1920251589" sldId="2146848494"/>
        </pc:sldMkLst>
      </pc:sldChg>
      <pc:sldChg chg="mod modShow">
        <pc:chgData name="Rebecca Liu 劉依茹" userId="28e4d197-e403-4e73-946f-379830aa94f1" providerId="ADAL" clId="{3E6EC4DE-62C6-4185-A04C-3D8F0EDDE26F}" dt="2024-09-23T01:17:24.198" v="88" actId="729"/>
        <pc:sldMkLst>
          <pc:docMk/>
          <pc:sldMk cId="4075359967" sldId="2146848495"/>
        </pc:sldMkLst>
      </pc:sldChg>
      <pc:sldChg chg="mod modShow">
        <pc:chgData name="Rebecca Liu 劉依茹" userId="28e4d197-e403-4e73-946f-379830aa94f1" providerId="ADAL" clId="{3E6EC4DE-62C6-4185-A04C-3D8F0EDDE26F}" dt="2024-09-23T01:46:24.440" v="394" actId="729"/>
        <pc:sldMkLst>
          <pc:docMk/>
          <pc:sldMk cId="2209974075" sldId="2146848497"/>
        </pc:sldMkLst>
      </pc:sldChg>
      <pc:sldChg chg="mod modShow">
        <pc:chgData name="Rebecca Liu 劉依茹" userId="28e4d197-e403-4e73-946f-379830aa94f1" providerId="ADAL" clId="{3E6EC4DE-62C6-4185-A04C-3D8F0EDDE26F}" dt="2024-09-23T01:46:17.527" v="393" actId="729"/>
        <pc:sldMkLst>
          <pc:docMk/>
          <pc:sldMk cId="782395049" sldId="2146848498"/>
        </pc:sldMkLst>
      </pc:sldChg>
      <pc:sldChg chg="mod modShow">
        <pc:chgData name="Rebecca Liu 劉依茹" userId="28e4d197-e403-4e73-946f-379830aa94f1" providerId="ADAL" clId="{3E6EC4DE-62C6-4185-A04C-3D8F0EDDE26F}" dt="2024-09-23T01:51:07.617" v="403" actId="729"/>
        <pc:sldMkLst>
          <pc:docMk/>
          <pc:sldMk cId="1209821558" sldId="2146848500"/>
        </pc:sldMkLst>
      </pc:sldChg>
      <pc:sldChg chg="mod modShow">
        <pc:chgData name="Rebecca Liu 劉依茹" userId="28e4d197-e403-4e73-946f-379830aa94f1" providerId="ADAL" clId="{3E6EC4DE-62C6-4185-A04C-3D8F0EDDE26F}" dt="2024-09-23T01:52:18.736" v="412" actId="729"/>
        <pc:sldMkLst>
          <pc:docMk/>
          <pc:sldMk cId="402787466" sldId="2146848501"/>
        </pc:sldMkLst>
      </pc:sldChg>
      <pc:sldChg chg="mod modShow">
        <pc:chgData name="Rebecca Liu 劉依茹" userId="28e4d197-e403-4e73-946f-379830aa94f1" providerId="ADAL" clId="{3E6EC4DE-62C6-4185-A04C-3D8F0EDDE26F}" dt="2024-09-23T01:57:48.063" v="427" actId="729"/>
        <pc:sldMkLst>
          <pc:docMk/>
          <pc:sldMk cId="612937024" sldId="2146848502"/>
        </pc:sldMkLst>
      </pc:sldChg>
      <pc:sldChg chg="mod modShow">
        <pc:chgData name="Rebecca Liu 劉依茹" userId="28e4d197-e403-4e73-946f-379830aa94f1" providerId="ADAL" clId="{3E6EC4DE-62C6-4185-A04C-3D8F0EDDE26F}" dt="2024-09-23T02:04:16.888" v="496" actId="729"/>
        <pc:sldMkLst>
          <pc:docMk/>
          <pc:sldMk cId="3595987929" sldId="2146848503"/>
        </pc:sldMkLst>
      </pc:sldChg>
      <pc:sldChg chg="modSp mod">
        <pc:chgData name="Rebecca Liu 劉依茹" userId="28e4d197-e403-4e73-946f-379830aa94f1" providerId="ADAL" clId="{3E6EC4DE-62C6-4185-A04C-3D8F0EDDE26F}" dt="2024-09-23T07:04:34.708" v="1911" actId="20577"/>
        <pc:sldMkLst>
          <pc:docMk/>
          <pc:sldMk cId="2481039735" sldId="2146848505"/>
        </pc:sldMkLst>
        <pc:spChg chg="mod">
          <ac:chgData name="Rebecca Liu 劉依茹" userId="28e4d197-e403-4e73-946f-379830aa94f1" providerId="ADAL" clId="{3E6EC4DE-62C6-4185-A04C-3D8F0EDDE26F}" dt="2024-09-23T07:04:34.708" v="1911" actId="20577"/>
          <ac:spMkLst>
            <pc:docMk/>
            <pc:sldMk cId="2481039735" sldId="2146848505"/>
            <ac:spMk id="14" creationId="{B197F978-98EA-9B83-D71B-CFFB50F995B7}"/>
          </ac:spMkLst>
        </pc:spChg>
      </pc:sldChg>
      <pc:sldChg chg="modSp mod">
        <pc:chgData name="Rebecca Liu 劉依茹" userId="28e4d197-e403-4e73-946f-379830aa94f1" providerId="ADAL" clId="{3E6EC4DE-62C6-4185-A04C-3D8F0EDDE26F}" dt="2024-09-23T06:58:40.056" v="1893" actId="20577"/>
        <pc:sldMkLst>
          <pc:docMk/>
          <pc:sldMk cId="3201455425" sldId="2146848508"/>
        </pc:sldMkLst>
        <pc:spChg chg="mod">
          <ac:chgData name="Rebecca Liu 劉依茹" userId="28e4d197-e403-4e73-946f-379830aa94f1" providerId="ADAL" clId="{3E6EC4DE-62C6-4185-A04C-3D8F0EDDE26F}" dt="2024-09-23T06:58:40.056" v="1893" actId="20577"/>
          <ac:spMkLst>
            <pc:docMk/>
            <pc:sldMk cId="3201455425" sldId="2146848508"/>
            <ac:spMk id="3" creationId="{C6A96EB7-2C48-12C1-4A1B-3273A26D19C4}"/>
          </ac:spMkLst>
        </pc:spChg>
      </pc:sldChg>
      <pc:sldChg chg="modSp mod modClrScheme chgLayout">
        <pc:chgData name="Rebecca Liu 劉依茹" userId="28e4d197-e403-4e73-946f-379830aa94f1" providerId="ADAL" clId="{3E6EC4DE-62C6-4185-A04C-3D8F0EDDE26F}" dt="2024-09-23T06:38:31.685" v="1552" actId="1440"/>
        <pc:sldMkLst>
          <pc:docMk/>
          <pc:sldMk cId="3541738884" sldId="2146848509"/>
        </pc:sldMkLst>
        <pc:spChg chg="mod ord">
          <ac:chgData name="Rebecca Liu 劉依茹" userId="28e4d197-e403-4e73-946f-379830aa94f1" providerId="ADAL" clId="{3E6EC4DE-62C6-4185-A04C-3D8F0EDDE26F}" dt="2024-09-23T06:35:37.878" v="1549" actId="404"/>
          <ac:spMkLst>
            <pc:docMk/>
            <pc:sldMk cId="3541738884" sldId="2146848509"/>
            <ac:spMk id="2" creationId="{54F85B92-D890-4518-F0B4-45F49504736E}"/>
          </ac:spMkLst>
        </pc:spChg>
        <pc:spChg chg="mod ord">
          <ac:chgData name="Rebecca Liu 劉依茹" userId="28e4d197-e403-4e73-946f-379830aa94f1" providerId="ADAL" clId="{3E6EC4DE-62C6-4185-A04C-3D8F0EDDE26F}" dt="2024-09-23T02:25:52.693" v="690" actId="700"/>
          <ac:spMkLst>
            <pc:docMk/>
            <pc:sldMk cId="3541738884" sldId="2146848509"/>
            <ac:spMk id="4" creationId="{BAE00720-D8F8-AF11-9904-5CD8D8BFC083}"/>
          </ac:spMkLst>
        </pc:spChg>
        <pc:spChg chg="mod">
          <ac:chgData name="Rebecca Liu 劉依茹" userId="28e4d197-e403-4e73-946f-379830aa94f1" providerId="ADAL" clId="{3E6EC4DE-62C6-4185-A04C-3D8F0EDDE26F}" dt="2024-09-23T02:25:44.635" v="689" actId="14100"/>
          <ac:spMkLst>
            <pc:docMk/>
            <pc:sldMk cId="3541738884" sldId="2146848509"/>
            <ac:spMk id="7" creationId="{DE0C148E-4511-D97C-BB1C-34805A3A9C72}"/>
          </ac:spMkLst>
        </pc:spChg>
        <pc:spChg chg="mod ord">
          <ac:chgData name="Rebecca Liu 劉依茹" userId="28e4d197-e403-4e73-946f-379830aa94f1" providerId="ADAL" clId="{3E6EC4DE-62C6-4185-A04C-3D8F0EDDE26F}" dt="2024-09-23T06:27:24.701" v="1250" actId="20577"/>
          <ac:spMkLst>
            <pc:docMk/>
            <pc:sldMk cId="3541738884" sldId="2146848509"/>
            <ac:spMk id="10" creationId="{B5341465-D190-8171-7785-1EEB59486DF9}"/>
          </ac:spMkLst>
        </pc:spChg>
        <pc:picChg chg="mod">
          <ac:chgData name="Rebecca Liu 劉依茹" userId="28e4d197-e403-4e73-946f-379830aa94f1" providerId="ADAL" clId="{3E6EC4DE-62C6-4185-A04C-3D8F0EDDE26F}" dt="2024-09-23T06:38:31.685" v="1552" actId="1440"/>
          <ac:picMkLst>
            <pc:docMk/>
            <pc:sldMk cId="3541738884" sldId="2146848509"/>
            <ac:picMk id="5" creationId="{B570A0C5-BA64-FD0F-3DFA-8CEE59BB2BCC}"/>
          </ac:picMkLst>
        </pc:picChg>
        <pc:picChg chg="mod">
          <ac:chgData name="Rebecca Liu 劉依茹" userId="28e4d197-e403-4e73-946f-379830aa94f1" providerId="ADAL" clId="{3E6EC4DE-62C6-4185-A04C-3D8F0EDDE26F}" dt="2024-09-23T06:38:23.493" v="1551" actId="1440"/>
          <ac:picMkLst>
            <pc:docMk/>
            <pc:sldMk cId="3541738884" sldId="2146848509"/>
            <ac:picMk id="6" creationId="{6ECCCD59-C7E1-3EBD-EF63-DBE6544BB640}"/>
          </ac:picMkLst>
        </pc:picChg>
      </pc:sldChg>
      <pc:sldChg chg="addSp delSp modSp mod">
        <pc:chgData name="Rebecca Liu 劉依茹" userId="28e4d197-e403-4e73-946f-379830aa94f1" providerId="ADAL" clId="{3E6EC4DE-62C6-4185-A04C-3D8F0EDDE26F}" dt="2024-09-23T07:03:11.453" v="1910" actId="207"/>
        <pc:sldMkLst>
          <pc:docMk/>
          <pc:sldMk cId="1360977376" sldId="2146848510"/>
        </pc:sldMkLst>
        <pc:spChg chg="mod">
          <ac:chgData name="Rebecca Liu 劉依茹" userId="28e4d197-e403-4e73-946f-379830aa94f1" providerId="ADAL" clId="{3E6EC4DE-62C6-4185-A04C-3D8F0EDDE26F}" dt="2024-09-23T00:54:13.879" v="1" actId="27636"/>
          <ac:spMkLst>
            <pc:docMk/>
            <pc:sldMk cId="1360977376" sldId="2146848510"/>
            <ac:spMk id="2" creationId="{A508BEA2-57FD-B436-6C8E-8FCC6F0DC22F}"/>
          </ac:spMkLst>
        </pc:spChg>
        <pc:spChg chg="del">
          <ac:chgData name="Rebecca Liu 劉依茹" userId="28e4d197-e403-4e73-946f-379830aa94f1" providerId="ADAL" clId="{3E6EC4DE-62C6-4185-A04C-3D8F0EDDE26F}" dt="2024-09-23T00:57:04.827" v="24" actId="478"/>
          <ac:spMkLst>
            <pc:docMk/>
            <pc:sldMk cId="1360977376" sldId="2146848510"/>
            <ac:spMk id="3" creationId="{0EFB7AEC-8C6B-3248-40D5-A4C342C98803}"/>
          </ac:spMkLst>
        </pc:spChg>
        <pc:spChg chg="add mod">
          <ac:chgData name="Rebecca Liu 劉依茹" userId="28e4d197-e403-4e73-946f-379830aa94f1" providerId="ADAL" clId="{3E6EC4DE-62C6-4185-A04C-3D8F0EDDE26F}" dt="2024-09-23T00:55:36.159" v="17" actId="164"/>
          <ac:spMkLst>
            <pc:docMk/>
            <pc:sldMk cId="1360977376" sldId="2146848510"/>
            <ac:spMk id="6" creationId="{AF633122-2DC2-197B-85B5-A4B04D45811E}"/>
          </ac:spMkLst>
        </pc:spChg>
        <pc:spChg chg="add mod">
          <ac:chgData name="Rebecca Liu 劉依茹" userId="28e4d197-e403-4e73-946f-379830aa94f1" providerId="ADAL" clId="{3E6EC4DE-62C6-4185-A04C-3D8F0EDDE26F}" dt="2024-09-23T00:55:36.159" v="17" actId="164"/>
          <ac:spMkLst>
            <pc:docMk/>
            <pc:sldMk cId="1360977376" sldId="2146848510"/>
            <ac:spMk id="7" creationId="{325FFAA4-507B-269E-B478-BDBB40F83E9D}"/>
          </ac:spMkLst>
        </pc:spChg>
        <pc:spChg chg="add mod">
          <ac:chgData name="Rebecca Liu 劉依茹" userId="28e4d197-e403-4e73-946f-379830aa94f1" providerId="ADAL" clId="{3E6EC4DE-62C6-4185-A04C-3D8F0EDDE26F}" dt="2024-09-23T00:55:36.159" v="17" actId="164"/>
          <ac:spMkLst>
            <pc:docMk/>
            <pc:sldMk cId="1360977376" sldId="2146848510"/>
            <ac:spMk id="8" creationId="{43B57524-4D09-FC4F-AC1B-DF51A41356D5}"/>
          </ac:spMkLst>
        </pc:spChg>
        <pc:spChg chg="add mod">
          <ac:chgData name="Rebecca Liu 劉依茹" userId="28e4d197-e403-4e73-946f-379830aa94f1" providerId="ADAL" clId="{3E6EC4DE-62C6-4185-A04C-3D8F0EDDE26F}" dt="2024-09-23T00:55:36.159" v="17" actId="164"/>
          <ac:spMkLst>
            <pc:docMk/>
            <pc:sldMk cId="1360977376" sldId="2146848510"/>
            <ac:spMk id="9" creationId="{0DEDBC0D-200B-C718-F830-570F70759014}"/>
          </ac:spMkLst>
        </pc:spChg>
        <pc:spChg chg="add del mod">
          <ac:chgData name="Rebecca Liu 劉依茹" userId="28e4d197-e403-4e73-946f-379830aa94f1" providerId="ADAL" clId="{3E6EC4DE-62C6-4185-A04C-3D8F0EDDE26F}" dt="2024-09-23T00:55:19.920" v="14" actId="478"/>
          <ac:spMkLst>
            <pc:docMk/>
            <pc:sldMk cId="1360977376" sldId="2146848510"/>
            <ac:spMk id="10" creationId="{6ECA5007-C29A-374D-AB58-0D059E2EA4F5}"/>
          </ac:spMkLst>
        </pc:spChg>
        <pc:spChg chg="add mod">
          <ac:chgData name="Rebecca Liu 劉依茹" userId="28e4d197-e403-4e73-946f-379830aa94f1" providerId="ADAL" clId="{3E6EC4DE-62C6-4185-A04C-3D8F0EDDE26F}" dt="2024-09-23T00:55:36.159" v="17" actId="164"/>
          <ac:spMkLst>
            <pc:docMk/>
            <pc:sldMk cId="1360977376" sldId="2146848510"/>
            <ac:spMk id="11" creationId="{FB1AAC48-B4E0-90C9-0917-B518D783C72D}"/>
          </ac:spMkLst>
        </pc:spChg>
        <pc:spChg chg="add mod">
          <ac:chgData name="Rebecca Liu 劉依茹" userId="28e4d197-e403-4e73-946f-379830aa94f1" providerId="ADAL" clId="{3E6EC4DE-62C6-4185-A04C-3D8F0EDDE26F}" dt="2024-09-23T00:57:59.743" v="36" actId="207"/>
          <ac:spMkLst>
            <pc:docMk/>
            <pc:sldMk cId="1360977376" sldId="2146848510"/>
            <ac:spMk id="13" creationId="{24EABA7B-9F06-4CDB-B9E6-B92E78F3AE95}"/>
          </ac:spMkLst>
        </pc:spChg>
        <pc:spChg chg="add mod">
          <ac:chgData name="Rebecca Liu 劉依茹" userId="28e4d197-e403-4e73-946f-379830aa94f1" providerId="ADAL" clId="{3E6EC4DE-62C6-4185-A04C-3D8F0EDDE26F}" dt="2024-09-23T00:57:59.743" v="36" actId="207"/>
          <ac:spMkLst>
            <pc:docMk/>
            <pc:sldMk cId="1360977376" sldId="2146848510"/>
            <ac:spMk id="14" creationId="{41D84DEC-4CD4-66D5-E1FA-E075751C90E9}"/>
          </ac:spMkLst>
        </pc:spChg>
        <pc:spChg chg="add mod">
          <ac:chgData name="Rebecca Liu 劉依茹" userId="28e4d197-e403-4e73-946f-379830aa94f1" providerId="ADAL" clId="{3E6EC4DE-62C6-4185-A04C-3D8F0EDDE26F}" dt="2024-09-23T00:57:59.743" v="36" actId="207"/>
          <ac:spMkLst>
            <pc:docMk/>
            <pc:sldMk cId="1360977376" sldId="2146848510"/>
            <ac:spMk id="15" creationId="{1B2A54B2-7CFB-573D-245F-413A6FBE6DE1}"/>
          </ac:spMkLst>
        </pc:spChg>
        <pc:spChg chg="add mod">
          <ac:chgData name="Rebecca Liu 劉依茹" userId="28e4d197-e403-4e73-946f-379830aa94f1" providerId="ADAL" clId="{3E6EC4DE-62C6-4185-A04C-3D8F0EDDE26F}" dt="2024-09-23T00:57:59.743" v="36" actId="207"/>
          <ac:spMkLst>
            <pc:docMk/>
            <pc:sldMk cId="1360977376" sldId="2146848510"/>
            <ac:spMk id="16" creationId="{4616AAD7-2533-CCEA-E6BE-E67D906ECD2D}"/>
          </ac:spMkLst>
        </pc:spChg>
        <pc:spChg chg="add mod">
          <ac:chgData name="Rebecca Liu 劉依茹" userId="28e4d197-e403-4e73-946f-379830aa94f1" providerId="ADAL" clId="{3E6EC4DE-62C6-4185-A04C-3D8F0EDDE26F}" dt="2024-09-23T07:03:11.453" v="1910" actId="207"/>
          <ac:spMkLst>
            <pc:docMk/>
            <pc:sldMk cId="1360977376" sldId="2146848510"/>
            <ac:spMk id="19" creationId="{EB523164-A68D-F98F-EEC0-50CD3AC3A453}"/>
          </ac:spMkLst>
        </pc:spChg>
        <pc:grpChg chg="add del mod">
          <ac:chgData name="Rebecca Liu 劉依茹" userId="28e4d197-e403-4e73-946f-379830aa94f1" providerId="ADAL" clId="{3E6EC4DE-62C6-4185-A04C-3D8F0EDDE26F}" dt="2024-09-23T00:56:46.006" v="20" actId="478"/>
          <ac:grpSpMkLst>
            <pc:docMk/>
            <pc:sldMk cId="1360977376" sldId="2146848510"/>
            <ac:grpSpMk id="12" creationId="{A42DCAFE-C87B-4957-E609-B3834A8EC107}"/>
          </ac:grpSpMkLst>
        </pc:grpChg>
        <pc:grpChg chg="add mod">
          <ac:chgData name="Rebecca Liu 劉依茹" userId="28e4d197-e403-4e73-946f-379830aa94f1" providerId="ADAL" clId="{3E6EC4DE-62C6-4185-A04C-3D8F0EDDE26F}" dt="2024-09-23T00:58:06.538" v="37" actId="164"/>
          <ac:grpSpMkLst>
            <pc:docMk/>
            <pc:sldMk cId="1360977376" sldId="2146848510"/>
            <ac:grpSpMk id="17" creationId="{1310FF9A-35C4-64AD-BAA1-E5960561330D}"/>
          </ac:grpSpMkLst>
        </pc:grpChg>
        <pc:grpChg chg="add mod">
          <ac:chgData name="Rebecca Liu 劉依茹" userId="28e4d197-e403-4e73-946f-379830aa94f1" providerId="ADAL" clId="{3E6EC4DE-62C6-4185-A04C-3D8F0EDDE26F}" dt="2024-09-23T00:58:06.538" v="37" actId="164"/>
          <ac:grpSpMkLst>
            <pc:docMk/>
            <pc:sldMk cId="1360977376" sldId="2146848510"/>
            <ac:grpSpMk id="18" creationId="{3FF37327-8A7D-22F5-84BE-19BFBCC68A30}"/>
          </ac:grpSpMkLst>
        </pc:grpChg>
        <pc:picChg chg="add mod modCrop">
          <ac:chgData name="Rebecca Liu 劉依茹" userId="28e4d197-e403-4e73-946f-379830aa94f1" providerId="ADAL" clId="{3E6EC4DE-62C6-4185-A04C-3D8F0EDDE26F}" dt="2024-09-23T00:58:06.538" v="37" actId="164"/>
          <ac:picMkLst>
            <pc:docMk/>
            <pc:sldMk cId="1360977376" sldId="2146848510"/>
            <ac:picMk id="5" creationId="{215C1DE5-43C7-731A-1DE9-853F583B4F53}"/>
          </ac:picMkLst>
        </pc:picChg>
      </pc:sldChg>
      <pc:sldChg chg="addSp modSp new mod ord">
        <pc:chgData name="Rebecca Liu 劉依茹" userId="28e4d197-e403-4e73-946f-379830aa94f1" providerId="ADAL" clId="{3E6EC4DE-62C6-4185-A04C-3D8F0EDDE26F}" dt="2024-09-23T06:57:27.496" v="1891" actId="1076"/>
        <pc:sldMkLst>
          <pc:docMk/>
          <pc:sldMk cId="3692807609" sldId="2146848511"/>
        </pc:sldMkLst>
        <pc:spChg chg="mod">
          <ac:chgData name="Rebecca Liu 劉依茹" userId="28e4d197-e403-4e73-946f-379830aa94f1" providerId="ADAL" clId="{3E6EC4DE-62C6-4185-A04C-3D8F0EDDE26F}" dt="2024-09-23T06:57:27.496" v="1891" actId="1076"/>
          <ac:spMkLst>
            <pc:docMk/>
            <pc:sldMk cId="3692807609" sldId="2146848511"/>
            <ac:spMk id="4" creationId="{02EA770F-73AF-CD5C-1D97-587FDF65107C}"/>
          </ac:spMkLst>
        </pc:spChg>
        <pc:picChg chg="add mod modCrop">
          <ac:chgData name="Rebecca Liu 劉依茹" userId="28e4d197-e403-4e73-946f-379830aa94f1" providerId="ADAL" clId="{3E6EC4DE-62C6-4185-A04C-3D8F0EDDE26F}" dt="2024-09-23T01:06:58.418" v="46" actId="14100"/>
          <ac:picMkLst>
            <pc:docMk/>
            <pc:sldMk cId="3692807609" sldId="2146848511"/>
            <ac:picMk id="5" creationId="{320B7089-EA1C-AC31-3B3D-01F841E932CD}"/>
          </ac:picMkLst>
        </pc:picChg>
      </pc:sldChg>
      <pc:sldChg chg="addSp delSp modSp new mod modClrScheme chgLayout">
        <pc:chgData name="Rebecca Liu 劉依茹" userId="28e4d197-e403-4e73-946f-379830aa94f1" providerId="ADAL" clId="{3E6EC4DE-62C6-4185-A04C-3D8F0EDDE26F}" dt="2024-09-23T06:40:16.915" v="1558" actId="1076"/>
        <pc:sldMkLst>
          <pc:docMk/>
          <pc:sldMk cId="2123503650" sldId="2146848512"/>
        </pc:sldMkLst>
        <pc:spChg chg="del mod ord">
          <ac:chgData name="Rebecca Liu 劉依茹" userId="28e4d197-e403-4e73-946f-379830aa94f1" providerId="ADAL" clId="{3E6EC4DE-62C6-4185-A04C-3D8F0EDDE26F}" dt="2024-09-23T02:14:44.107" v="539" actId="700"/>
          <ac:spMkLst>
            <pc:docMk/>
            <pc:sldMk cId="2123503650" sldId="2146848512"/>
            <ac:spMk id="2" creationId="{DAEA1090-2940-00BD-6DB3-B3B9815378EA}"/>
          </ac:spMkLst>
        </pc:spChg>
        <pc:spChg chg="mod ord">
          <ac:chgData name="Rebecca Liu 劉依茹" userId="28e4d197-e403-4e73-946f-379830aa94f1" providerId="ADAL" clId="{3E6EC4DE-62C6-4185-A04C-3D8F0EDDE26F}" dt="2024-09-23T02:14:44.107" v="539" actId="700"/>
          <ac:spMkLst>
            <pc:docMk/>
            <pc:sldMk cId="2123503650" sldId="2146848512"/>
            <ac:spMk id="3" creationId="{DB641DDA-4BE6-5BCE-B40B-C4DF860F54A7}"/>
          </ac:spMkLst>
        </pc:spChg>
        <pc:spChg chg="add mod">
          <ac:chgData name="Rebecca Liu 劉依茹" userId="28e4d197-e403-4e73-946f-379830aa94f1" providerId="ADAL" clId="{3E6EC4DE-62C6-4185-A04C-3D8F0EDDE26F}" dt="2024-09-23T06:40:16.915" v="1558" actId="1076"/>
          <ac:spMkLst>
            <pc:docMk/>
            <pc:sldMk cId="2123503650" sldId="2146848512"/>
            <ac:spMk id="6" creationId="{D1342A05-D2CD-313C-B832-E1ECF6D8048F}"/>
          </ac:spMkLst>
        </pc:spChg>
        <pc:spChg chg="add del mod ord">
          <ac:chgData name="Rebecca Liu 劉依茹" userId="28e4d197-e403-4e73-946f-379830aa94f1" providerId="ADAL" clId="{3E6EC4DE-62C6-4185-A04C-3D8F0EDDE26F}" dt="2024-09-23T02:14:49.023" v="541" actId="478"/>
          <ac:spMkLst>
            <pc:docMk/>
            <pc:sldMk cId="2123503650" sldId="2146848512"/>
            <ac:spMk id="7" creationId="{A4F28C50-A164-59D0-18E1-80F677ABFB38}"/>
          </ac:spMkLst>
        </pc:spChg>
        <pc:spChg chg="add del mod ord">
          <ac:chgData name="Rebecca Liu 劉依茹" userId="28e4d197-e403-4e73-946f-379830aa94f1" providerId="ADAL" clId="{3E6EC4DE-62C6-4185-A04C-3D8F0EDDE26F}" dt="2024-09-23T02:14:54.846" v="543" actId="478"/>
          <ac:spMkLst>
            <pc:docMk/>
            <pc:sldMk cId="2123503650" sldId="2146848512"/>
            <ac:spMk id="8" creationId="{555E9205-0E13-A5AA-C415-60024997182C}"/>
          </ac:spMkLst>
        </pc:spChg>
        <pc:picChg chg="add mod modCrop">
          <ac:chgData name="Rebecca Liu 劉依茹" userId="28e4d197-e403-4e73-946f-379830aa94f1" providerId="ADAL" clId="{3E6EC4DE-62C6-4185-A04C-3D8F0EDDE26F}" dt="2024-09-23T02:14:34.876" v="538" actId="1036"/>
          <ac:picMkLst>
            <pc:docMk/>
            <pc:sldMk cId="2123503650" sldId="2146848512"/>
            <ac:picMk id="5" creationId="{4CAED1EC-6A8E-4855-394F-E6F0C54EE500}"/>
          </ac:picMkLst>
        </pc:picChg>
      </pc:sldChg>
      <pc:sldChg chg="addSp delSp modSp new mod modClrScheme chgLayout">
        <pc:chgData name="Rebecca Liu 劉依茹" userId="28e4d197-e403-4e73-946f-379830aa94f1" providerId="ADAL" clId="{3E6EC4DE-62C6-4185-A04C-3D8F0EDDE26F}" dt="2024-09-23T06:34:14.700" v="1541" actId="164"/>
        <pc:sldMkLst>
          <pc:docMk/>
          <pc:sldMk cId="3376911728" sldId="2146848513"/>
        </pc:sldMkLst>
        <pc:spChg chg="del">
          <ac:chgData name="Rebecca Liu 劉依茹" userId="28e4d197-e403-4e73-946f-379830aa94f1" providerId="ADAL" clId="{3E6EC4DE-62C6-4185-A04C-3D8F0EDDE26F}" dt="2024-09-23T01:15:05.890" v="65" actId="478"/>
          <ac:spMkLst>
            <pc:docMk/>
            <pc:sldMk cId="3376911728" sldId="2146848513"/>
            <ac:spMk id="2" creationId="{AC5C40B5-2114-BDE5-D253-F21D19FEABFB}"/>
          </ac:spMkLst>
        </pc:spChg>
        <pc:spChg chg="mod ord">
          <ac:chgData name="Rebecca Liu 劉依茹" userId="28e4d197-e403-4e73-946f-379830aa94f1" providerId="ADAL" clId="{3E6EC4DE-62C6-4185-A04C-3D8F0EDDE26F}" dt="2024-09-23T02:14:05.603" v="520" actId="700"/>
          <ac:spMkLst>
            <pc:docMk/>
            <pc:sldMk cId="3376911728" sldId="2146848513"/>
            <ac:spMk id="3" creationId="{BC72BB72-4E03-E69F-D246-52E389DA698A}"/>
          </ac:spMkLst>
        </pc:spChg>
        <pc:spChg chg="add mod">
          <ac:chgData name="Rebecca Liu 劉依茹" userId="28e4d197-e403-4e73-946f-379830aa94f1" providerId="ADAL" clId="{3E6EC4DE-62C6-4185-A04C-3D8F0EDDE26F}" dt="2024-09-23T01:17:09.923" v="87" actId="1582"/>
          <ac:spMkLst>
            <pc:docMk/>
            <pc:sldMk cId="3376911728" sldId="2146848513"/>
            <ac:spMk id="10" creationId="{D3CB5738-5F23-3797-1095-8C7AC618D945}"/>
          </ac:spMkLst>
        </pc:spChg>
        <pc:spChg chg="add del mod ord">
          <ac:chgData name="Rebecca Liu 劉依茹" userId="28e4d197-e403-4e73-946f-379830aa94f1" providerId="ADAL" clId="{3E6EC4DE-62C6-4185-A04C-3D8F0EDDE26F}" dt="2024-09-23T02:14:09.080" v="522" actId="478"/>
          <ac:spMkLst>
            <pc:docMk/>
            <pc:sldMk cId="3376911728" sldId="2146848513"/>
            <ac:spMk id="11" creationId="{74777063-B4FD-E547-EEDC-A62008847671}"/>
          </ac:spMkLst>
        </pc:spChg>
        <pc:spChg chg="add del mod ord">
          <ac:chgData name="Rebecca Liu 劉依茹" userId="28e4d197-e403-4e73-946f-379830aa94f1" providerId="ADAL" clId="{3E6EC4DE-62C6-4185-A04C-3D8F0EDDE26F}" dt="2024-09-23T02:14:11.398" v="523" actId="478"/>
          <ac:spMkLst>
            <pc:docMk/>
            <pc:sldMk cId="3376911728" sldId="2146848513"/>
            <ac:spMk id="12" creationId="{98FF58D7-D4EB-9BDF-0C80-AB018B716624}"/>
          </ac:spMkLst>
        </pc:spChg>
        <pc:spChg chg="add mod">
          <ac:chgData name="Rebecca Liu 劉依茹" userId="28e4d197-e403-4e73-946f-379830aa94f1" providerId="ADAL" clId="{3E6EC4DE-62C6-4185-A04C-3D8F0EDDE26F}" dt="2024-09-23T06:34:14.700" v="1541" actId="164"/>
          <ac:spMkLst>
            <pc:docMk/>
            <pc:sldMk cId="3376911728" sldId="2146848513"/>
            <ac:spMk id="13" creationId="{1ED06B4B-9FFC-DEC8-D2D5-DC51F807B4FD}"/>
          </ac:spMkLst>
        </pc:spChg>
        <pc:grpChg chg="add mod">
          <ac:chgData name="Rebecca Liu 劉依茹" userId="28e4d197-e403-4e73-946f-379830aa94f1" providerId="ADAL" clId="{3E6EC4DE-62C6-4185-A04C-3D8F0EDDE26F}" dt="2024-09-23T06:34:14.700" v="1541" actId="164"/>
          <ac:grpSpMkLst>
            <pc:docMk/>
            <pc:sldMk cId="3376911728" sldId="2146848513"/>
            <ac:grpSpMk id="14" creationId="{9BDB76FD-0925-DDAC-4B1E-619827958C80}"/>
          </ac:grpSpMkLst>
        </pc:grpChg>
        <pc:picChg chg="add mod modCrop">
          <ac:chgData name="Rebecca Liu 劉依茹" userId="28e4d197-e403-4e73-946f-379830aa94f1" providerId="ADAL" clId="{3E6EC4DE-62C6-4185-A04C-3D8F0EDDE26F}" dt="2024-09-23T06:34:14.700" v="1541" actId="164"/>
          <ac:picMkLst>
            <pc:docMk/>
            <pc:sldMk cId="3376911728" sldId="2146848513"/>
            <ac:picMk id="5" creationId="{7AF246B1-F98D-4D35-52A5-86DBAB4746E8}"/>
          </ac:picMkLst>
        </pc:picChg>
        <pc:picChg chg="add mod modCrop">
          <ac:chgData name="Rebecca Liu 劉依茹" userId="28e4d197-e403-4e73-946f-379830aa94f1" providerId="ADAL" clId="{3E6EC4DE-62C6-4185-A04C-3D8F0EDDE26F}" dt="2024-09-23T01:16:34.817" v="79" actId="1076"/>
          <ac:picMkLst>
            <pc:docMk/>
            <pc:sldMk cId="3376911728" sldId="2146848513"/>
            <ac:picMk id="7" creationId="{F8D023B0-5E3F-C7F6-2495-0ABF25F00782}"/>
          </ac:picMkLst>
        </pc:picChg>
        <pc:picChg chg="add mod modCrop">
          <ac:chgData name="Rebecca Liu 劉依茹" userId="28e4d197-e403-4e73-946f-379830aa94f1" providerId="ADAL" clId="{3E6EC4DE-62C6-4185-A04C-3D8F0EDDE26F}" dt="2024-09-23T01:16:42.198" v="82" actId="1076"/>
          <ac:picMkLst>
            <pc:docMk/>
            <pc:sldMk cId="3376911728" sldId="2146848513"/>
            <ac:picMk id="9" creationId="{99EA88B6-8B4E-0B3F-3E2B-3897544AE16B}"/>
          </ac:picMkLst>
        </pc:picChg>
      </pc:sldChg>
      <pc:sldChg chg="addSp delSp modSp new mod modClrScheme chgLayout">
        <pc:chgData name="Rebecca Liu 劉依茹" userId="28e4d197-e403-4e73-946f-379830aa94f1" providerId="ADAL" clId="{3E6EC4DE-62C6-4185-A04C-3D8F0EDDE26F}" dt="2024-09-23T02:17:27.516" v="598" actId="1076"/>
        <pc:sldMkLst>
          <pc:docMk/>
          <pc:sldMk cId="1452239299" sldId="2146848514"/>
        </pc:sldMkLst>
        <pc:spChg chg="del mod ord">
          <ac:chgData name="Rebecca Liu 劉依茹" userId="28e4d197-e403-4e73-946f-379830aa94f1" providerId="ADAL" clId="{3E6EC4DE-62C6-4185-A04C-3D8F0EDDE26F}" dt="2024-09-23T02:15:48.982" v="580" actId="700"/>
          <ac:spMkLst>
            <pc:docMk/>
            <pc:sldMk cId="1452239299" sldId="2146848514"/>
            <ac:spMk id="2" creationId="{ECC45A2B-DD6B-9A82-A5A1-3A2CA1EC6F3C}"/>
          </ac:spMkLst>
        </pc:spChg>
        <pc:spChg chg="mod ord">
          <ac:chgData name="Rebecca Liu 劉依茹" userId="28e4d197-e403-4e73-946f-379830aa94f1" providerId="ADAL" clId="{3E6EC4DE-62C6-4185-A04C-3D8F0EDDE26F}" dt="2024-09-23T02:15:48.982" v="580" actId="700"/>
          <ac:spMkLst>
            <pc:docMk/>
            <pc:sldMk cId="1452239299" sldId="2146848514"/>
            <ac:spMk id="3" creationId="{B24B834E-6CFB-C750-7A52-28C07700AC1F}"/>
          </ac:spMkLst>
        </pc:spChg>
        <pc:spChg chg="add del mod ord">
          <ac:chgData name="Rebecca Liu 劉依茹" userId="28e4d197-e403-4e73-946f-379830aa94f1" providerId="ADAL" clId="{3E6EC4DE-62C6-4185-A04C-3D8F0EDDE26F}" dt="2024-09-23T02:17:23.324" v="597" actId="478"/>
          <ac:spMkLst>
            <pc:docMk/>
            <pc:sldMk cId="1452239299" sldId="2146848514"/>
            <ac:spMk id="6" creationId="{F693045F-AF67-FD2D-05DA-FA67A2BAA876}"/>
          </ac:spMkLst>
        </pc:spChg>
        <pc:spChg chg="add del mod ord">
          <ac:chgData name="Rebecca Liu 劉依茹" userId="28e4d197-e403-4e73-946f-379830aa94f1" providerId="ADAL" clId="{3E6EC4DE-62C6-4185-A04C-3D8F0EDDE26F}" dt="2024-09-23T02:15:57.326" v="583" actId="478"/>
          <ac:spMkLst>
            <pc:docMk/>
            <pc:sldMk cId="1452239299" sldId="2146848514"/>
            <ac:spMk id="7" creationId="{61E48093-D808-3F98-FF8F-04DFF4E9AC2D}"/>
          </ac:spMkLst>
        </pc:spChg>
        <pc:picChg chg="add mod modCrop">
          <ac:chgData name="Rebecca Liu 劉依茹" userId="28e4d197-e403-4e73-946f-379830aa94f1" providerId="ADAL" clId="{3E6EC4DE-62C6-4185-A04C-3D8F0EDDE26F}" dt="2024-09-23T02:17:27.516" v="598" actId="1076"/>
          <ac:picMkLst>
            <pc:docMk/>
            <pc:sldMk cId="1452239299" sldId="2146848514"/>
            <ac:picMk id="5" creationId="{75379391-C8E7-9A79-77FD-3503489B6D5B}"/>
          </ac:picMkLst>
        </pc:picChg>
      </pc:sldChg>
      <pc:sldChg chg="addSp delSp modSp new mod modClrScheme chgLayout">
        <pc:chgData name="Rebecca Liu 劉依茹" userId="28e4d197-e403-4e73-946f-379830aa94f1" providerId="ADAL" clId="{3E6EC4DE-62C6-4185-A04C-3D8F0EDDE26F}" dt="2024-09-23T06:44:38.947" v="1732" actId="1035"/>
        <pc:sldMkLst>
          <pc:docMk/>
          <pc:sldMk cId="896262111" sldId="2146848515"/>
        </pc:sldMkLst>
        <pc:spChg chg="del mod ord">
          <ac:chgData name="Rebecca Liu 劉依茹" userId="28e4d197-e403-4e73-946f-379830aa94f1" providerId="ADAL" clId="{3E6EC4DE-62C6-4185-A04C-3D8F0EDDE26F}" dt="2024-09-23T02:16:13.939" v="584" actId="700"/>
          <ac:spMkLst>
            <pc:docMk/>
            <pc:sldMk cId="896262111" sldId="2146848515"/>
            <ac:spMk id="2" creationId="{B70EAC6E-F69F-BD66-E15C-19EB99A8DE1F}"/>
          </ac:spMkLst>
        </pc:spChg>
        <pc:spChg chg="mod ord">
          <ac:chgData name="Rebecca Liu 劉依茹" userId="28e4d197-e403-4e73-946f-379830aa94f1" providerId="ADAL" clId="{3E6EC4DE-62C6-4185-A04C-3D8F0EDDE26F}" dt="2024-09-23T02:16:13.939" v="584" actId="700"/>
          <ac:spMkLst>
            <pc:docMk/>
            <pc:sldMk cId="896262111" sldId="2146848515"/>
            <ac:spMk id="3" creationId="{E41DB098-9FF2-0150-AA01-4774AC7FD1D9}"/>
          </ac:spMkLst>
        </pc:spChg>
        <pc:spChg chg="add mod">
          <ac:chgData name="Rebecca Liu 劉依茹" userId="28e4d197-e403-4e73-946f-379830aa94f1" providerId="ADAL" clId="{3E6EC4DE-62C6-4185-A04C-3D8F0EDDE26F}" dt="2024-09-23T06:40:53.156" v="1583" actId="1036"/>
          <ac:spMkLst>
            <pc:docMk/>
            <pc:sldMk cId="896262111" sldId="2146848515"/>
            <ac:spMk id="6" creationId="{92B2DFA2-0CA2-1243-4B6A-9740184D2476}"/>
          </ac:spMkLst>
        </pc:spChg>
        <pc:spChg chg="add mod">
          <ac:chgData name="Rebecca Liu 劉依茹" userId="28e4d197-e403-4e73-946f-379830aa94f1" providerId="ADAL" clId="{3E6EC4DE-62C6-4185-A04C-3D8F0EDDE26F}" dt="2024-09-23T06:40:53.156" v="1583" actId="1036"/>
          <ac:spMkLst>
            <pc:docMk/>
            <pc:sldMk cId="896262111" sldId="2146848515"/>
            <ac:spMk id="7" creationId="{85C4E1FC-7306-688E-1661-DF6B173BCFFE}"/>
          </ac:spMkLst>
        </pc:spChg>
        <pc:spChg chg="add del mod ord">
          <ac:chgData name="Rebecca Liu 劉依茹" userId="28e4d197-e403-4e73-946f-379830aa94f1" providerId="ADAL" clId="{3E6EC4DE-62C6-4185-A04C-3D8F0EDDE26F}" dt="2024-09-23T02:16:43.831" v="588" actId="478"/>
          <ac:spMkLst>
            <pc:docMk/>
            <pc:sldMk cId="896262111" sldId="2146848515"/>
            <ac:spMk id="8" creationId="{19E75250-B273-D225-EC8D-46698CF382DF}"/>
          </ac:spMkLst>
        </pc:spChg>
        <pc:spChg chg="add del mod ord">
          <ac:chgData name="Rebecca Liu 劉依茹" userId="28e4d197-e403-4e73-946f-379830aa94f1" providerId="ADAL" clId="{3E6EC4DE-62C6-4185-A04C-3D8F0EDDE26F}" dt="2024-09-23T02:16:29.103" v="586" actId="478"/>
          <ac:spMkLst>
            <pc:docMk/>
            <pc:sldMk cId="896262111" sldId="2146848515"/>
            <ac:spMk id="9" creationId="{21DE24EA-02AC-2C80-6F3B-BCFC42052981}"/>
          </ac:spMkLst>
        </pc:spChg>
        <pc:picChg chg="add mod modCrop">
          <ac:chgData name="Rebecca Liu 劉依茹" userId="28e4d197-e403-4e73-946f-379830aa94f1" providerId="ADAL" clId="{3E6EC4DE-62C6-4185-A04C-3D8F0EDDE26F}" dt="2024-09-23T06:44:38.947" v="1732" actId="1035"/>
          <ac:picMkLst>
            <pc:docMk/>
            <pc:sldMk cId="896262111" sldId="2146848515"/>
            <ac:picMk id="5" creationId="{F2DBC3FA-47F2-E894-1373-505B6526A047}"/>
          </ac:picMkLst>
        </pc:picChg>
      </pc:sldChg>
      <pc:sldChg chg="addSp delSp modSp new mod modClrScheme chgLayout">
        <pc:chgData name="Rebecca Liu 劉依茹" userId="28e4d197-e403-4e73-946f-379830aa94f1" providerId="ADAL" clId="{3E6EC4DE-62C6-4185-A04C-3D8F0EDDE26F}" dt="2024-09-23T06:41:44.156" v="1636" actId="1035"/>
        <pc:sldMkLst>
          <pc:docMk/>
          <pc:sldMk cId="855102633" sldId="2146848516"/>
        </pc:sldMkLst>
        <pc:spChg chg="del mod ord">
          <ac:chgData name="Rebecca Liu 劉依茹" userId="28e4d197-e403-4e73-946f-379830aa94f1" providerId="ADAL" clId="{3E6EC4DE-62C6-4185-A04C-3D8F0EDDE26F}" dt="2024-09-23T06:31:44.073" v="1484" actId="700"/>
          <ac:spMkLst>
            <pc:docMk/>
            <pc:sldMk cId="855102633" sldId="2146848516"/>
            <ac:spMk id="2" creationId="{5579D3E8-674D-1ECA-30FD-4085C864AD1C}"/>
          </ac:spMkLst>
        </pc:spChg>
        <pc:spChg chg="mod ord">
          <ac:chgData name="Rebecca Liu 劉依茹" userId="28e4d197-e403-4e73-946f-379830aa94f1" providerId="ADAL" clId="{3E6EC4DE-62C6-4185-A04C-3D8F0EDDE26F}" dt="2024-09-23T06:41:34.232" v="1633" actId="166"/>
          <ac:spMkLst>
            <pc:docMk/>
            <pc:sldMk cId="855102633" sldId="2146848516"/>
            <ac:spMk id="3" creationId="{8E7D515C-C580-7B9B-171D-F0856352FBB2}"/>
          </ac:spMkLst>
        </pc:spChg>
        <pc:spChg chg="add del mod ord">
          <ac:chgData name="Rebecca Liu 劉依茹" userId="28e4d197-e403-4e73-946f-379830aa94f1" providerId="ADAL" clId="{3E6EC4DE-62C6-4185-A04C-3D8F0EDDE26F}" dt="2024-09-23T06:31:56.459" v="1487" actId="478"/>
          <ac:spMkLst>
            <pc:docMk/>
            <pc:sldMk cId="855102633" sldId="2146848516"/>
            <ac:spMk id="6" creationId="{EB00A886-18F2-2E79-A07B-3E2DC5337634}"/>
          </ac:spMkLst>
        </pc:spChg>
        <pc:spChg chg="add mod ord">
          <ac:chgData name="Rebecca Liu 劉依茹" userId="28e4d197-e403-4e73-946f-379830aa94f1" providerId="ADAL" clId="{3E6EC4DE-62C6-4185-A04C-3D8F0EDDE26F}" dt="2024-09-23T06:31:44.073" v="1484" actId="700"/>
          <ac:spMkLst>
            <pc:docMk/>
            <pc:sldMk cId="855102633" sldId="2146848516"/>
            <ac:spMk id="7" creationId="{290E23B6-2509-7C4E-3D73-9FCC9EC4C20B}"/>
          </ac:spMkLst>
        </pc:spChg>
        <pc:picChg chg="add mod modCrop">
          <ac:chgData name="Rebecca Liu 劉依茹" userId="28e4d197-e403-4e73-946f-379830aa94f1" providerId="ADAL" clId="{3E6EC4DE-62C6-4185-A04C-3D8F0EDDE26F}" dt="2024-09-23T06:41:44.156" v="1636" actId="1035"/>
          <ac:picMkLst>
            <pc:docMk/>
            <pc:sldMk cId="855102633" sldId="2146848516"/>
            <ac:picMk id="5" creationId="{C984D212-8944-1670-B713-BBBC207A0FAA}"/>
          </ac:picMkLst>
        </pc:picChg>
      </pc:sldChg>
      <pc:sldChg chg="addSp delSp modSp new mod modClrScheme chgLayout">
        <pc:chgData name="Rebecca Liu 劉依茹" userId="28e4d197-e403-4e73-946f-379830aa94f1" providerId="ADAL" clId="{3E6EC4DE-62C6-4185-A04C-3D8F0EDDE26F}" dt="2024-09-23T06:41:58.946" v="1668" actId="1036"/>
        <pc:sldMkLst>
          <pc:docMk/>
          <pc:sldMk cId="418225297" sldId="2146848517"/>
        </pc:sldMkLst>
        <pc:spChg chg="del mod ord">
          <ac:chgData name="Rebecca Liu 劉依茹" userId="28e4d197-e403-4e73-946f-379830aa94f1" providerId="ADAL" clId="{3E6EC4DE-62C6-4185-A04C-3D8F0EDDE26F}" dt="2024-09-23T06:32:24.001" v="1490" actId="700"/>
          <ac:spMkLst>
            <pc:docMk/>
            <pc:sldMk cId="418225297" sldId="2146848517"/>
            <ac:spMk id="2" creationId="{5701B506-668A-67C0-8646-DD7596C29536}"/>
          </ac:spMkLst>
        </pc:spChg>
        <pc:spChg chg="mod ord">
          <ac:chgData name="Rebecca Liu 劉依茹" userId="28e4d197-e403-4e73-946f-379830aa94f1" providerId="ADAL" clId="{3E6EC4DE-62C6-4185-A04C-3D8F0EDDE26F}" dt="2024-09-23T06:32:24.001" v="1490" actId="700"/>
          <ac:spMkLst>
            <pc:docMk/>
            <pc:sldMk cId="418225297" sldId="2146848517"/>
            <ac:spMk id="3" creationId="{4C42AC6E-E303-4C1A-A991-599095742EEB}"/>
          </ac:spMkLst>
        </pc:spChg>
        <pc:spChg chg="add del mod ord">
          <ac:chgData name="Rebecca Liu 劉依茹" userId="28e4d197-e403-4e73-946f-379830aa94f1" providerId="ADAL" clId="{3E6EC4DE-62C6-4185-A04C-3D8F0EDDE26F}" dt="2024-09-23T06:32:50.610" v="1509" actId="478"/>
          <ac:spMkLst>
            <pc:docMk/>
            <pc:sldMk cId="418225297" sldId="2146848517"/>
            <ac:spMk id="6" creationId="{93059E40-3BF6-1696-0B9B-42A85412D3A8}"/>
          </ac:spMkLst>
        </pc:spChg>
        <pc:spChg chg="add del mod ord">
          <ac:chgData name="Rebecca Liu 劉依茹" userId="28e4d197-e403-4e73-946f-379830aa94f1" providerId="ADAL" clId="{3E6EC4DE-62C6-4185-A04C-3D8F0EDDE26F}" dt="2024-09-23T06:32:28.001" v="1492" actId="478"/>
          <ac:spMkLst>
            <pc:docMk/>
            <pc:sldMk cId="418225297" sldId="2146848517"/>
            <ac:spMk id="7" creationId="{385EF6C9-414E-F675-0566-3808A8A3A65D}"/>
          </ac:spMkLst>
        </pc:spChg>
        <pc:picChg chg="add mod modCrop">
          <ac:chgData name="Rebecca Liu 劉依茹" userId="28e4d197-e403-4e73-946f-379830aa94f1" providerId="ADAL" clId="{3E6EC4DE-62C6-4185-A04C-3D8F0EDDE26F}" dt="2024-09-23T06:41:58.946" v="1668" actId="1036"/>
          <ac:picMkLst>
            <pc:docMk/>
            <pc:sldMk cId="418225297" sldId="2146848517"/>
            <ac:picMk id="5" creationId="{3D3EEBF9-FD42-5775-790D-03EB0D80B73C}"/>
          </ac:picMkLst>
        </pc:picChg>
      </pc:sldChg>
      <pc:sldChg chg="addSp delSp modSp new mod modClrScheme chgLayout">
        <pc:chgData name="Rebecca Liu 劉依茹" userId="28e4d197-e403-4e73-946f-379830aa94f1" providerId="ADAL" clId="{3E6EC4DE-62C6-4185-A04C-3D8F0EDDE26F}" dt="2024-09-23T06:43:57.807" v="1730" actId="164"/>
        <pc:sldMkLst>
          <pc:docMk/>
          <pc:sldMk cId="819070259" sldId="2146848518"/>
        </pc:sldMkLst>
        <pc:spChg chg="del mod ord">
          <ac:chgData name="Rebecca Liu 劉依茹" userId="28e4d197-e403-4e73-946f-379830aa94f1" providerId="ADAL" clId="{3E6EC4DE-62C6-4185-A04C-3D8F0EDDE26F}" dt="2024-09-23T02:18:49.007" v="684" actId="700"/>
          <ac:spMkLst>
            <pc:docMk/>
            <pc:sldMk cId="819070259" sldId="2146848518"/>
            <ac:spMk id="2" creationId="{A4B8C8A2-3097-A7E8-8C63-3C8E37335211}"/>
          </ac:spMkLst>
        </pc:spChg>
        <pc:spChg chg="mod ord">
          <ac:chgData name="Rebecca Liu 劉依茹" userId="28e4d197-e403-4e73-946f-379830aa94f1" providerId="ADAL" clId="{3E6EC4DE-62C6-4185-A04C-3D8F0EDDE26F}" dt="2024-09-23T06:43:34.762" v="1728" actId="166"/>
          <ac:spMkLst>
            <pc:docMk/>
            <pc:sldMk cId="819070259" sldId="2146848518"/>
            <ac:spMk id="3" creationId="{1018B1B4-CA8A-2201-0EF0-B45E3C9C0890}"/>
          </ac:spMkLst>
        </pc:spChg>
        <pc:spChg chg="add mod topLvl">
          <ac:chgData name="Rebecca Liu 劉依茹" userId="28e4d197-e403-4e73-946f-379830aa94f1" providerId="ADAL" clId="{3E6EC4DE-62C6-4185-A04C-3D8F0EDDE26F}" dt="2024-09-23T06:43:48.070" v="1729" actId="164"/>
          <ac:spMkLst>
            <pc:docMk/>
            <pc:sldMk cId="819070259" sldId="2146848518"/>
            <ac:spMk id="6" creationId="{D50FF14B-9269-62ED-6FF8-DC929DEC57C9}"/>
          </ac:spMkLst>
        </pc:spChg>
        <pc:spChg chg="add del mod ord">
          <ac:chgData name="Rebecca Liu 劉依茹" userId="28e4d197-e403-4e73-946f-379830aa94f1" providerId="ADAL" clId="{3E6EC4DE-62C6-4185-A04C-3D8F0EDDE26F}" dt="2024-09-23T06:42:55.493" v="1695" actId="478"/>
          <ac:spMkLst>
            <pc:docMk/>
            <pc:sldMk cId="819070259" sldId="2146848518"/>
            <ac:spMk id="10" creationId="{81273B5C-B413-F271-4CBD-0C03AEF2F679}"/>
          </ac:spMkLst>
        </pc:spChg>
        <pc:spChg chg="add del mod ord">
          <ac:chgData name="Rebecca Liu 劉依茹" userId="28e4d197-e403-4e73-946f-379830aa94f1" providerId="ADAL" clId="{3E6EC4DE-62C6-4185-A04C-3D8F0EDDE26F}" dt="2024-09-23T02:18:59.267" v="687" actId="478"/>
          <ac:spMkLst>
            <pc:docMk/>
            <pc:sldMk cId="819070259" sldId="2146848518"/>
            <ac:spMk id="11" creationId="{66328021-8640-7FF0-8DEB-25E6A4B79221}"/>
          </ac:spMkLst>
        </pc:spChg>
        <pc:grpChg chg="add del mod">
          <ac:chgData name="Rebecca Liu 劉依茹" userId="28e4d197-e403-4e73-946f-379830aa94f1" providerId="ADAL" clId="{3E6EC4DE-62C6-4185-A04C-3D8F0EDDE26F}" dt="2024-09-23T06:42:17.691" v="1669" actId="165"/>
          <ac:grpSpMkLst>
            <pc:docMk/>
            <pc:sldMk cId="819070259" sldId="2146848518"/>
            <ac:grpSpMk id="9" creationId="{E3627627-0EA5-C3B0-07B5-779C26729F78}"/>
          </ac:grpSpMkLst>
        </pc:grpChg>
        <pc:grpChg chg="add mod">
          <ac:chgData name="Rebecca Liu 劉依茹" userId="28e4d197-e403-4e73-946f-379830aa94f1" providerId="ADAL" clId="{3E6EC4DE-62C6-4185-A04C-3D8F0EDDE26F}" dt="2024-09-23T06:43:57.807" v="1730" actId="164"/>
          <ac:grpSpMkLst>
            <pc:docMk/>
            <pc:sldMk cId="819070259" sldId="2146848518"/>
            <ac:grpSpMk id="12" creationId="{8CF98BF8-CC03-26ED-188E-48111AB1CCC0}"/>
          </ac:grpSpMkLst>
        </pc:grpChg>
        <pc:grpChg chg="add mod">
          <ac:chgData name="Rebecca Liu 劉依茹" userId="28e4d197-e403-4e73-946f-379830aa94f1" providerId="ADAL" clId="{3E6EC4DE-62C6-4185-A04C-3D8F0EDDE26F}" dt="2024-09-23T06:43:57.807" v="1730" actId="164"/>
          <ac:grpSpMkLst>
            <pc:docMk/>
            <pc:sldMk cId="819070259" sldId="2146848518"/>
            <ac:grpSpMk id="13" creationId="{D82C5EBA-6F65-68FE-C30A-03A53FF5D0B8}"/>
          </ac:grpSpMkLst>
        </pc:grpChg>
        <pc:picChg chg="add mod topLvl modCrop">
          <ac:chgData name="Rebecca Liu 劉依茹" userId="28e4d197-e403-4e73-946f-379830aa94f1" providerId="ADAL" clId="{3E6EC4DE-62C6-4185-A04C-3D8F0EDDE26F}" dt="2024-09-23T06:43:57.807" v="1730" actId="164"/>
          <ac:picMkLst>
            <pc:docMk/>
            <pc:sldMk cId="819070259" sldId="2146848518"/>
            <ac:picMk id="5" creationId="{53F1FD8B-437F-392D-BC0B-91ADD11D6A52}"/>
          </ac:picMkLst>
        </pc:picChg>
        <pc:picChg chg="add mod modCrop">
          <ac:chgData name="Rebecca Liu 劉依茹" userId="28e4d197-e403-4e73-946f-379830aa94f1" providerId="ADAL" clId="{3E6EC4DE-62C6-4185-A04C-3D8F0EDDE26F}" dt="2024-09-23T06:43:48.070" v="1729" actId="164"/>
          <ac:picMkLst>
            <pc:docMk/>
            <pc:sldMk cId="819070259" sldId="2146848518"/>
            <ac:picMk id="7" creationId="{E9E62365-5FF3-469B-CDF0-028AC1E37BAC}"/>
          </ac:picMkLst>
        </pc:picChg>
        <pc:picChg chg="add mod modCrop">
          <ac:chgData name="Rebecca Liu 劉依茹" userId="28e4d197-e403-4e73-946f-379830aa94f1" providerId="ADAL" clId="{3E6EC4DE-62C6-4185-A04C-3D8F0EDDE26F}" dt="2024-09-23T06:43:48.070" v="1729" actId="164"/>
          <ac:picMkLst>
            <pc:docMk/>
            <pc:sldMk cId="819070259" sldId="2146848518"/>
            <ac:picMk id="8" creationId="{79B4B725-FF14-13C1-18A9-5FE7CECB55C2}"/>
          </ac:picMkLst>
        </pc:picChg>
      </pc:sldChg>
      <pc:sldChg chg="addSp delSp modSp new mod">
        <pc:chgData name="Rebecca Liu 劉依茹" userId="28e4d197-e403-4e73-946f-379830aa94f1" providerId="ADAL" clId="{3E6EC4DE-62C6-4185-A04C-3D8F0EDDE26F}" dt="2024-09-23T02:04:04.167" v="495" actId="1076"/>
        <pc:sldMkLst>
          <pc:docMk/>
          <pc:sldMk cId="3778839258" sldId="2146848519"/>
        </pc:sldMkLst>
        <pc:spChg chg="del">
          <ac:chgData name="Rebecca Liu 劉依茹" userId="28e4d197-e403-4e73-946f-379830aa94f1" providerId="ADAL" clId="{3E6EC4DE-62C6-4185-A04C-3D8F0EDDE26F}" dt="2024-09-23T02:02:16.840" v="481" actId="478"/>
          <ac:spMkLst>
            <pc:docMk/>
            <pc:sldMk cId="3778839258" sldId="2146848519"/>
            <ac:spMk id="2" creationId="{D4DB2ECF-0683-815A-8724-5296D263DBA3}"/>
          </ac:spMkLst>
        </pc:spChg>
        <pc:picChg chg="add mod modCrop">
          <ac:chgData name="Rebecca Liu 劉依茹" userId="28e4d197-e403-4e73-946f-379830aa94f1" providerId="ADAL" clId="{3E6EC4DE-62C6-4185-A04C-3D8F0EDDE26F}" dt="2024-09-23T02:03:57.259" v="494" actId="1076"/>
          <ac:picMkLst>
            <pc:docMk/>
            <pc:sldMk cId="3778839258" sldId="2146848519"/>
            <ac:picMk id="5" creationId="{F8580E8E-E176-9793-6674-84C1219BCA32}"/>
          </ac:picMkLst>
        </pc:picChg>
        <pc:picChg chg="add mod modCrop">
          <ac:chgData name="Rebecca Liu 劉依茹" userId="28e4d197-e403-4e73-946f-379830aa94f1" providerId="ADAL" clId="{3E6EC4DE-62C6-4185-A04C-3D8F0EDDE26F}" dt="2024-09-23T02:04:04.167" v="495" actId="1076"/>
          <ac:picMkLst>
            <pc:docMk/>
            <pc:sldMk cId="3778839258" sldId="2146848519"/>
            <ac:picMk id="7" creationId="{E6F23447-E2F8-3200-7756-8034EBC4886F}"/>
          </ac:picMkLst>
        </pc:picChg>
        <pc:picChg chg="add mod modCrop">
          <ac:chgData name="Rebecca Liu 劉依茹" userId="28e4d197-e403-4e73-946f-379830aa94f1" providerId="ADAL" clId="{3E6EC4DE-62C6-4185-A04C-3D8F0EDDE26F}" dt="2024-09-23T02:03:43.991" v="491" actId="1076"/>
          <ac:picMkLst>
            <pc:docMk/>
            <pc:sldMk cId="3778839258" sldId="2146848519"/>
            <ac:picMk id="9" creationId="{020C61EB-67E8-5AF0-9E5A-72136E0E6E2B}"/>
          </ac:picMkLst>
        </pc:picChg>
      </pc:sldChg>
      <pc:sldChg chg="addSp modSp mod">
        <pc:chgData name="Rebecca Liu 劉依茹" userId="28e4d197-e403-4e73-946f-379830aa94f1" providerId="ADAL" clId="{3E6EC4DE-62C6-4185-A04C-3D8F0EDDE26F}" dt="2024-09-23T07:26:43.187" v="1920" actId="13926"/>
        <pc:sldMkLst>
          <pc:docMk/>
          <pc:sldMk cId="4182907108" sldId="2146848521"/>
        </pc:sldMkLst>
        <pc:spChg chg="mod">
          <ac:chgData name="Rebecca Liu 劉依茹" userId="28e4d197-e403-4e73-946f-379830aa94f1" providerId="ADAL" clId="{3E6EC4DE-62C6-4185-A04C-3D8F0EDDE26F}" dt="2024-09-23T06:54:13.832" v="1867" actId="255"/>
          <ac:spMkLst>
            <pc:docMk/>
            <pc:sldMk cId="4182907108" sldId="2146848521"/>
            <ac:spMk id="2" creationId="{881524C3-8CAF-3451-2AB4-D53E1A1A46B3}"/>
          </ac:spMkLst>
        </pc:spChg>
        <pc:spChg chg="mod ord">
          <ac:chgData name="Rebecca Liu 劉依茹" userId="28e4d197-e403-4e73-946f-379830aa94f1" providerId="ADAL" clId="{3E6EC4DE-62C6-4185-A04C-3D8F0EDDE26F}" dt="2024-09-23T07:26:43.187" v="1920" actId="13926"/>
          <ac:spMkLst>
            <pc:docMk/>
            <pc:sldMk cId="4182907108" sldId="2146848521"/>
            <ac:spMk id="3" creationId="{3C294C1B-08B0-BB26-9A17-ADC25CBB042F}"/>
          </ac:spMkLst>
        </pc:spChg>
        <pc:spChg chg="add mod">
          <ac:chgData name="Rebecca Liu 劉依茹" userId="28e4d197-e403-4e73-946f-379830aa94f1" providerId="ADAL" clId="{3E6EC4DE-62C6-4185-A04C-3D8F0EDDE26F}" dt="2024-09-23T06:54:42.103" v="1871" actId="207"/>
          <ac:spMkLst>
            <pc:docMk/>
            <pc:sldMk cId="4182907108" sldId="2146848521"/>
            <ac:spMk id="5" creationId="{17F4AD19-6BCE-0F7A-099C-0E1CBD5563E1}"/>
          </ac:spMkLst>
        </pc:spChg>
      </pc:sldChg>
      <pc:sldChg chg="add del">
        <pc:chgData name="Rebecca Liu 劉依茹" userId="28e4d197-e403-4e73-946f-379830aa94f1" providerId="ADAL" clId="{3E6EC4DE-62C6-4185-A04C-3D8F0EDDE26F}" dt="2024-09-23T06:14:35.375" v="747" actId="47"/>
        <pc:sldMkLst>
          <pc:docMk/>
          <pc:sldMk cId="1785353549" sldId="2146848522"/>
        </pc:sldMkLst>
      </pc:sldChg>
      <pc:sldChg chg="modSp add mod ord modShow">
        <pc:chgData name="Rebecca Liu 劉依茹" userId="28e4d197-e403-4e73-946f-379830aa94f1" providerId="ADAL" clId="{3E6EC4DE-62C6-4185-A04C-3D8F0EDDE26F}" dt="2024-09-23T06:35:09.018" v="1545"/>
        <pc:sldMkLst>
          <pc:docMk/>
          <pc:sldMk cId="3317078863" sldId="2146848523"/>
        </pc:sldMkLst>
        <pc:spChg chg="mod">
          <ac:chgData name="Rebecca Liu 劉依茹" userId="28e4d197-e403-4e73-946f-379830aa94f1" providerId="ADAL" clId="{3E6EC4DE-62C6-4185-A04C-3D8F0EDDE26F}" dt="2024-09-23T06:29:37.546" v="1465" actId="113"/>
          <ac:spMkLst>
            <pc:docMk/>
            <pc:sldMk cId="3317078863" sldId="2146848523"/>
            <ac:spMk id="10" creationId="{B5341465-D190-8171-7785-1EEB59486DF9}"/>
          </ac:spMkLst>
        </pc:spChg>
      </pc:sldChg>
      <pc:sldChg chg="add del">
        <pc:chgData name="Rebecca Liu 劉依茹" userId="28e4d197-e403-4e73-946f-379830aa94f1" providerId="ADAL" clId="{3E6EC4DE-62C6-4185-A04C-3D8F0EDDE26F}" dt="2024-09-23T06:14:41.034" v="749" actId="47"/>
        <pc:sldMkLst>
          <pc:docMk/>
          <pc:sldMk cId="1400699127" sldId="2146848524"/>
        </pc:sldMkLst>
      </pc:sldChg>
    </pc:docChg>
  </pc:docChgLst>
  <pc:docChgLst>
    <pc:chgData name="Betty.Chiu (PT) 邱佩晴" userId="9afe3e61-e655-4e22-9ce3-f79327d95c21" providerId="ADAL" clId="{73D41C37-5029-4B02-8776-0F438AA90C32}"/>
    <pc:docChg chg="undo custSel addSld delSld modSld sldOrd modSection modNotesMaster modHandout">
      <pc:chgData name="Betty.Chiu (PT) 邱佩晴" userId="9afe3e61-e655-4e22-9ce3-f79327d95c21" providerId="ADAL" clId="{73D41C37-5029-4B02-8776-0F438AA90C32}" dt="2024-10-16T07:43:28.543" v="707" actId="20577"/>
      <pc:docMkLst>
        <pc:docMk/>
      </pc:docMkLst>
      <pc:sldChg chg="mod modShow">
        <pc:chgData name="Betty.Chiu (PT) 邱佩晴" userId="9afe3e61-e655-4e22-9ce3-f79327d95c21" providerId="ADAL" clId="{73D41C37-5029-4B02-8776-0F438AA90C32}" dt="2024-10-14T07:01:57.560" v="169" actId="729"/>
        <pc:sldMkLst>
          <pc:docMk/>
          <pc:sldMk cId="3545985125" sldId="2146848504"/>
        </pc:sldMkLst>
      </pc:sldChg>
      <pc:sldChg chg="mod modShow">
        <pc:chgData name="Betty.Chiu (PT) 邱佩晴" userId="9afe3e61-e655-4e22-9ce3-f79327d95c21" providerId="ADAL" clId="{73D41C37-5029-4B02-8776-0F438AA90C32}" dt="2024-10-14T07:01:57.560" v="169" actId="729"/>
        <pc:sldMkLst>
          <pc:docMk/>
          <pc:sldMk cId="2481039735" sldId="2146848505"/>
        </pc:sldMkLst>
      </pc:sldChg>
      <pc:sldChg chg="mod modShow">
        <pc:chgData name="Betty.Chiu (PT) 邱佩晴" userId="9afe3e61-e655-4e22-9ce3-f79327d95c21" providerId="ADAL" clId="{73D41C37-5029-4B02-8776-0F438AA90C32}" dt="2024-10-14T07:01:57.560" v="169" actId="729"/>
        <pc:sldMkLst>
          <pc:docMk/>
          <pc:sldMk cId="1300305467" sldId="2146848506"/>
        </pc:sldMkLst>
      </pc:sldChg>
      <pc:sldChg chg="mod modShow">
        <pc:chgData name="Betty.Chiu (PT) 邱佩晴" userId="9afe3e61-e655-4e22-9ce3-f79327d95c21" providerId="ADAL" clId="{73D41C37-5029-4B02-8776-0F438AA90C32}" dt="2024-10-14T07:01:57.560" v="169" actId="729"/>
        <pc:sldMkLst>
          <pc:docMk/>
          <pc:sldMk cId="2124364911" sldId="2146848507"/>
        </pc:sldMkLst>
      </pc:sldChg>
      <pc:sldChg chg="mod modShow">
        <pc:chgData name="Betty.Chiu (PT) 邱佩晴" userId="9afe3e61-e655-4e22-9ce3-f79327d95c21" providerId="ADAL" clId="{73D41C37-5029-4B02-8776-0F438AA90C32}" dt="2024-10-14T07:01:57.560" v="169" actId="729"/>
        <pc:sldMkLst>
          <pc:docMk/>
          <pc:sldMk cId="3201455425" sldId="2146848508"/>
        </pc:sldMkLst>
      </pc:sldChg>
      <pc:sldChg chg="add">
        <pc:chgData name="Betty.Chiu (PT) 邱佩晴" userId="9afe3e61-e655-4e22-9ce3-f79327d95c21" providerId="ADAL" clId="{73D41C37-5029-4B02-8776-0F438AA90C32}" dt="2024-10-14T05:37:42.138" v="0"/>
        <pc:sldMkLst>
          <pc:docMk/>
          <pc:sldMk cId="2170120935" sldId="2147482618"/>
        </pc:sldMkLst>
      </pc:sldChg>
      <pc:sldChg chg="addSp modSp add del mod">
        <pc:chgData name="Betty.Chiu (PT) 邱佩晴" userId="9afe3e61-e655-4e22-9ce3-f79327d95c21" providerId="ADAL" clId="{73D41C37-5029-4B02-8776-0F438AA90C32}" dt="2024-10-14T05:56:58.519" v="128" actId="47"/>
        <pc:sldMkLst>
          <pc:docMk/>
          <pc:sldMk cId="4279632184" sldId="2147482619"/>
        </pc:sldMkLst>
        <pc:spChg chg="mod">
          <ac:chgData name="Betty.Chiu (PT) 邱佩晴" userId="9afe3e61-e655-4e22-9ce3-f79327d95c21" providerId="ADAL" clId="{73D41C37-5029-4B02-8776-0F438AA90C32}" dt="2024-10-14T05:42:55.980" v="87" actId="14100"/>
          <ac:spMkLst>
            <pc:docMk/>
            <pc:sldMk cId="4279632184" sldId="2147482619"/>
            <ac:spMk id="3" creationId="{03D5B97F-C759-61B3-1D27-43D74028CD3B}"/>
          </ac:spMkLst>
        </pc:spChg>
        <pc:spChg chg="mod">
          <ac:chgData name="Betty.Chiu (PT) 邱佩晴" userId="9afe3e61-e655-4e22-9ce3-f79327d95c21" providerId="ADAL" clId="{73D41C37-5029-4B02-8776-0F438AA90C32}" dt="2024-10-14T05:43:00.050" v="89" actId="14100"/>
          <ac:spMkLst>
            <pc:docMk/>
            <pc:sldMk cId="4279632184" sldId="2147482619"/>
            <ac:spMk id="4" creationId="{1E9F6D59-8E5F-F8F3-6BA5-EFC3E41E578F}"/>
          </ac:spMkLst>
        </pc:spChg>
        <pc:spChg chg="mod">
          <ac:chgData name="Betty.Chiu (PT) 邱佩晴" userId="9afe3e61-e655-4e22-9ce3-f79327d95c21" providerId="ADAL" clId="{73D41C37-5029-4B02-8776-0F438AA90C32}" dt="2024-10-14T05:43:02.467" v="90" actId="14100"/>
          <ac:spMkLst>
            <pc:docMk/>
            <pc:sldMk cId="4279632184" sldId="2147482619"/>
            <ac:spMk id="5" creationId="{1E4CE15A-BD0B-7286-0D34-185B956897E1}"/>
          </ac:spMkLst>
        </pc:spChg>
        <pc:spChg chg="add mod">
          <ac:chgData name="Betty.Chiu (PT) 邱佩晴" userId="9afe3e61-e655-4e22-9ce3-f79327d95c21" providerId="ADAL" clId="{73D41C37-5029-4B02-8776-0F438AA90C32}" dt="2024-10-14T05:42:27.404" v="83" actId="1076"/>
          <ac:spMkLst>
            <pc:docMk/>
            <pc:sldMk cId="4279632184" sldId="2147482619"/>
            <ac:spMk id="6" creationId="{7C7293BC-4148-2068-154C-B38B110BE6A5}"/>
          </ac:spMkLst>
        </pc:spChg>
        <pc:spChg chg="add mod">
          <ac:chgData name="Betty.Chiu (PT) 邱佩晴" userId="9afe3e61-e655-4e22-9ce3-f79327d95c21" providerId="ADAL" clId="{73D41C37-5029-4B02-8776-0F438AA90C32}" dt="2024-10-14T05:42:29.885" v="84" actId="1076"/>
          <ac:spMkLst>
            <pc:docMk/>
            <pc:sldMk cId="4279632184" sldId="2147482619"/>
            <ac:spMk id="7" creationId="{3383E4F0-9389-9EBD-4D20-8DE00E49E644}"/>
          </ac:spMkLst>
        </pc:spChg>
        <pc:spChg chg="add mod">
          <ac:chgData name="Betty.Chiu (PT) 邱佩晴" userId="9afe3e61-e655-4e22-9ce3-f79327d95c21" providerId="ADAL" clId="{73D41C37-5029-4B02-8776-0F438AA90C32}" dt="2024-10-14T05:42:32.646" v="85" actId="1076"/>
          <ac:spMkLst>
            <pc:docMk/>
            <pc:sldMk cId="4279632184" sldId="2147482619"/>
            <ac:spMk id="8" creationId="{9A16A9CD-EE79-B32C-D684-C6711B365C99}"/>
          </ac:spMkLst>
        </pc:spChg>
        <pc:spChg chg="mod">
          <ac:chgData name="Betty.Chiu (PT) 邱佩晴" userId="9afe3e61-e655-4e22-9ce3-f79327d95c21" providerId="ADAL" clId="{73D41C37-5029-4B02-8776-0F438AA90C32}" dt="2024-10-14T05:37:52.973" v="2" actId="20577"/>
          <ac:spMkLst>
            <pc:docMk/>
            <pc:sldMk cId="4279632184" sldId="2147482619"/>
            <ac:spMk id="9" creationId="{40C1E48D-725E-2A98-8B07-4E34051793B6}"/>
          </ac:spMkLst>
        </pc:spChg>
        <pc:spChg chg="add mod">
          <ac:chgData name="Betty.Chiu (PT) 邱佩晴" userId="9afe3e61-e655-4e22-9ce3-f79327d95c21" providerId="ADAL" clId="{73D41C37-5029-4B02-8776-0F438AA90C32}" dt="2024-10-14T05:42:35.566" v="86" actId="1076"/>
          <ac:spMkLst>
            <pc:docMk/>
            <pc:sldMk cId="4279632184" sldId="2147482619"/>
            <ac:spMk id="10" creationId="{BF5CAD93-41E4-833E-5198-415E59AD341E}"/>
          </ac:spMkLst>
        </pc:spChg>
        <pc:spChg chg="mod">
          <ac:chgData name="Betty.Chiu (PT) 邱佩晴" userId="9afe3e61-e655-4e22-9ce3-f79327d95c21" providerId="ADAL" clId="{73D41C37-5029-4B02-8776-0F438AA90C32}" dt="2024-10-14T05:38:03.349" v="7" actId="20577"/>
          <ac:spMkLst>
            <pc:docMk/>
            <pc:sldMk cId="4279632184" sldId="2147482619"/>
            <ac:spMk id="14" creationId="{B197F978-98EA-9B83-D71B-CFFB50F995B7}"/>
          </ac:spMkLst>
        </pc:spChg>
        <pc:spChg chg="mod">
          <ac:chgData name="Betty.Chiu (PT) 邱佩晴" userId="9afe3e61-e655-4e22-9ce3-f79327d95c21" providerId="ADAL" clId="{73D41C37-5029-4B02-8776-0F438AA90C32}" dt="2024-10-14T05:38:58.365" v="13" actId="20577"/>
          <ac:spMkLst>
            <pc:docMk/>
            <pc:sldMk cId="4279632184" sldId="2147482619"/>
            <ac:spMk id="16" creationId="{81F0AA7E-A13E-DB11-91AC-181D8679CF91}"/>
          </ac:spMkLst>
        </pc:spChg>
      </pc:sldChg>
      <pc:sldChg chg="modSp add del mod">
        <pc:chgData name="Betty.Chiu (PT) 邱佩晴" userId="9afe3e61-e655-4e22-9ce3-f79327d95c21" providerId="ADAL" clId="{73D41C37-5029-4B02-8776-0F438AA90C32}" dt="2024-10-14T05:42:10.293" v="81" actId="47"/>
        <pc:sldMkLst>
          <pc:docMk/>
          <pc:sldMk cId="123984265" sldId="2147482620"/>
        </pc:sldMkLst>
        <pc:spChg chg="mod">
          <ac:chgData name="Betty.Chiu (PT) 邱佩晴" userId="9afe3e61-e655-4e22-9ce3-f79327d95c21" providerId="ADAL" clId="{73D41C37-5029-4B02-8776-0F438AA90C32}" dt="2024-10-14T05:40:07.056" v="40" actId="207"/>
          <ac:spMkLst>
            <pc:docMk/>
            <pc:sldMk cId="123984265" sldId="2147482620"/>
            <ac:spMk id="3" creationId="{2DA8BB85-EE03-CF59-47BC-F87A6AEB8CD5}"/>
          </ac:spMkLst>
        </pc:spChg>
        <pc:spChg chg="mod">
          <ac:chgData name="Betty.Chiu (PT) 邱佩晴" userId="9afe3e61-e655-4e22-9ce3-f79327d95c21" providerId="ADAL" clId="{73D41C37-5029-4B02-8776-0F438AA90C32}" dt="2024-10-14T05:41:02.933" v="61" actId="14100"/>
          <ac:spMkLst>
            <pc:docMk/>
            <pc:sldMk cId="123984265" sldId="2147482620"/>
            <ac:spMk id="4" creationId="{91DAC73D-43AF-70FA-F1A6-1BD2A93119F6}"/>
          </ac:spMkLst>
        </pc:spChg>
        <pc:spChg chg="mod">
          <ac:chgData name="Betty.Chiu (PT) 邱佩晴" userId="9afe3e61-e655-4e22-9ce3-f79327d95c21" providerId="ADAL" clId="{73D41C37-5029-4B02-8776-0F438AA90C32}" dt="2024-10-14T05:40:01.915" v="39" actId="1076"/>
          <ac:spMkLst>
            <pc:docMk/>
            <pc:sldMk cId="123984265" sldId="2147482620"/>
            <ac:spMk id="9" creationId="{40C1E48D-725E-2A98-8B07-4E34051793B6}"/>
          </ac:spMkLst>
        </pc:spChg>
        <pc:spChg chg="mod">
          <ac:chgData name="Betty.Chiu (PT) 邱佩晴" userId="9afe3e61-e655-4e22-9ce3-f79327d95c21" providerId="ADAL" clId="{73D41C37-5029-4B02-8776-0F438AA90C32}" dt="2024-10-14T05:41:08.579" v="63" actId="1076"/>
          <ac:spMkLst>
            <pc:docMk/>
            <pc:sldMk cId="123984265" sldId="2147482620"/>
            <ac:spMk id="14" creationId="{B197F978-98EA-9B83-D71B-CFFB50F995B7}"/>
          </ac:spMkLst>
        </pc:spChg>
      </pc:sldChg>
      <pc:sldChg chg="modSp add del mod">
        <pc:chgData name="Betty.Chiu (PT) 邱佩晴" userId="9afe3e61-e655-4e22-9ce3-f79327d95c21" providerId="ADAL" clId="{73D41C37-5029-4B02-8776-0F438AA90C32}" dt="2024-10-14T14:36:09.580" v="248" actId="47"/>
        <pc:sldMkLst>
          <pc:docMk/>
          <pc:sldMk cId="3019981107" sldId="2147482621"/>
        </pc:sldMkLst>
        <pc:spChg chg="mod">
          <ac:chgData name="Betty.Chiu (PT) 邱佩晴" userId="9afe3e61-e655-4e22-9ce3-f79327d95c21" providerId="ADAL" clId="{73D41C37-5029-4B02-8776-0F438AA90C32}" dt="2024-10-14T07:02:37.910" v="180" actId="1076"/>
          <ac:spMkLst>
            <pc:docMk/>
            <pc:sldMk cId="3019981107" sldId="2147482621"/>
            <ac:spMk id="9" creationId="{40C1E48D-725E-2A98-8B07-4E34051793B6}"/>
          </ac:spMkLst>
        </pc:spChg>
        <pc:spChg chg="mod">
          <ac:chgData name="Betty.Chiu (PT) 邱佩晴" userId="9afe3e61-e655-4e22-9ce3-f79327d95c21" providerId="ADAL" clId="{73D41C37-5029-4B02-8776-0F438AA90C32}" dt="2024-10-14T07:02:35.049" v="179" actId="403"/>
          <ac:spMkLst>
            <pc:docMk/>
            <pc:sldMk cId="3019981107" sldId="2147482621"/>
            <ac:spMk id="14" creationId="{B197F978-98EA-9B83-D71B-CFFB50F995B7}"/>
          </ac:spMkLst>
        </pc:spChg>
        <pc:spChg chg="mod">
          <ac:chgData name="Betty.Chiu (PT) 邱佩晴" userId="9afe3e61-e655-4e22-9ce3-f79327d95c21" providerId="ADAL" clId="{73D41C37-5029-4B02-8776-0F438AA90C32}" dt="2024-10-14T07:02:35.049" v="179" actId="403"/>
          <ac:spMkLst>
            <pc:docMk/>
            <pc:sldMk cId="3019981107" sldId="2147482621"/>
            <ac:spMk id="16" creationId="{81F0AA7E-A13E-DB11-91AC-181D8679CF91}"/>
          </ac:spMkLst>
        </pc:spChg>
      </pc:sldChg>
      <pc:sldChg chg="addSp delSp modSp add mod modNotesTx">
        <pc:chgData name="Betty.Chiu (PT) 邱佩晴" userId="9afe3e61-e655-4e22-9ce3-f79327d95c21" providerId="ADAL" clId="{73D41C37-5029-4B02-8776-0F438AA90C32}" dt="2024-10-16T05:44:08.703" v="617" actId="20577"/>
        <pc:sldMkLst>
          <pc:docMk/>
          <pc:sldMk cId="3493874438" sldId="2147482622"/>
        </pc:sldMkLst>
        <pc:spChg chg="del mod">
          <ac:chgData name="Betty.Chiu (PT) 邱佩晴" userId="9afe3e61-e655-4e22-9ce3-f79327d95c21" providerId="ADAL" clId="{73D41C37-5029-4B02-8776-0F438AA90C32}" dt="2024-10-16T04:35:59.362" v="448" actId="478"/>
          <ac:spMkLst>
            <pc:docMk/>
            <pc:sldMk cId="3493874438" sldId="2147482622"/>
            <ac:spMk id="2" creationId="{25DDA675-9ABF-72B1-06DC-ABE8EEA8A38E}"/>
          </ac:spMkLst>
        </pc:spChg>
        <pc:spChg chg="del mod">
          <ac:chgData name="Betty.Chiu (PT) 邱佩晴" userId="9afe3e61-e655-4e22-9ce3-f79327d95c21" providerId="ADAL" clId="{73D41C37-5029-4B02-8776-0F438AA90C32}" dt="2024-10-16T04:35:47.181" v="442" actId="478"/>
          <ac:spMkLst>
            <pc:docMk/>
            <pc:sldMk cId="3493874438" sldId="2147482622"/>
            <ac:spMk id="3" creationId="{C6A96EB7-2C48-12C1-4A1B-3273A26D19C4}"/>
          </ac:spMkLst>
        </pc:spChg>
        <pc:spChg chg="add del mod">
          <ac:chgData name="Betty.Chiu (PT) 邱佩晴" userId="9afe3e61-e655-4e22-9ce3-f79327d95c21" providerId="ADAL" clId="{73D41C37-5029-4B02-8776-0F438AA90C32}" dt="2024-10-16T04:03:13.932" v="329" actId="478"/>
          <ac:spMkLst>
            <pc:docMk/>
            <pc:sldMk cId="3493874438" sldId="2147482622"/>
            <ac:spMk id="4" creationId="{F3AC30A3-EE6E-1EA8-71E3-D68A2677A52E}"/>
          </ac:spMkLst>
        </pc:spChg>
        <pc:spChg chg="add del mod">
          <ac:chgData name="Betty.Chiu (PT) 邱佩晴" userId="9afe3e61-e655-4e22-9ce3-f79327d95c21" providerId="ADAL" clId="{73D41C37-5029-4B02-8776-0F438AA90C32}" dt="2024-10-16T04:35:49.318" v="443" actId="478"/>
          <ac:spMkLst>
            <pc:docMk/>
            <pc:sldMk cId="3493874438" sldId="2147482622"/>
            <ac:spMk id="6" creationId="{4D4AF5FD-9BB1-015C-EEEA-759E3B669FB6}"/>
          </ac:spMkLst>
        </pc:spChg>
        <pc:spChg chg="add mod">
          <ac:chgData name="Betty.Chiu (PT) 邱佩晴" userId="9afe3e61-e655-4e22-9ce3-f79327d95c21" providerId="ADAL" clId="{73D41C37-5029-4B02-8776-0F438AA90C32}" dt="2024-10-16T04:39:03.437" v="515" actId="1076"/>
          <ac:spMkLst>
            <pc:docMk/>
            <pc:sldMk cId="3493874438" sldId="2147482622"/>
            <ac:spMk id="8" creationId="{A21169FC-39E8-D3B8-ECC5-EE929AA6BA76}"/>
          </ac:spMkLst>
        </pc:spChg>
        <pc:spChg chg="add del mod">
          <ac:chgData name="Betty.Chiu (PT) 邱佩晴" userId="9afe3e61-e655-4e22-9ce3-f79327d95c21" providerId="ADAL" clId="{73D41C37-5029-4B02-8776-0F438AA90C32}" dt="2024-10-16T04:35:52.995" v="444" actId="478"/>
          <ac:spMkLst>
            <pc:docMk/>
            <pc:sldMk cId="3493874438" sldId="2147482622"/>
            <ac:spMk id="10" creationId="{3AD5E14D-D838-3F94-07EB-DB4A388BED42}"/>
          </ac:spMkLst>
        </pc:spChg>
        <pc:spChg chg="add mod">
          <ac:chgData name="Betty.Chiu (PT) 邱佩晴" userId="9afe3e61-e655-4e22-9ce3-f79327d95c21" providerId="ADAL" clId="{73D41C37-5029-4B02-8776-0F438AA90C32}" dt="2024-10-16T04:38:28.810" v="504" actId="255"/>
          <ac:spMkLst>
            <pc:docMk/>
            <pc:sldMk cId="3493874438" sldId="2147482622"/>
            <ac:spMk id="11" creationId="{45C5C7BE-F4DA-A0F0-EA8A-1ED22BFC49AE}"/>
          </ac:spMkLst>
        </pc:spChg>
        <pc:spChg chg="add del mod">
          <ac:chgData name="Betty.Chiu (PT) 邱佩晴" userId="9afe3e61-e655-4e22-9ce3-f79327d95c21" providerId="ADAL" clId="{73D41C37-5029-4B02-8776-0F438AA90C32}" dt="2024-10-16T04:36:04.243" v="450" actId="478"/>
          <ac:spMkLst>
            <pc:docMk/>
            <pc:sldMk cId="3493874438" sldId="2147482622"/>
            <ac:spMk id="13" creationId="{5BD48D3D-DF6B-D401-BBC0-E17B6447BFCC}"/>
          </ac:spMkLst>
        </pc:spChg>
        <pc:spChg chg="add mod">
          <ac:chgData name="Betty.Chiu (PT) 邱佩晴" userId="9afe3e61-e655-4e22-9ce3-f79327d95c21" providerId="ADAL" clId="{73D41C37-5029-4B02-8776-0F438AA90C32}" dt="2024-10-16T04:39:15.061" v="519" actId="403"/>
          <ac:spMkLst>
            <pc:docMk/>
            <pc:sldMk cId="3493874438" sldId="2147482622"/>
            <ac:spMk id="14" creationId="{06BFE986-F89F-D179-25BB-61D92EF8E1CD}"/>
          </ac:spMkLst>
        </pc:spChg>
        <pc:picChg chg="add mod">
          <ac:chgData name="Betty.Chiu (PT) 邱佩晴" userId="9afe3e61-e655-4e22-9ce3-f79327d95c21" providerId="ADAL" clId="{73D41C37-5029-4B02-8776-0F438AA90C32}" dt="2024-10-16T05:42:43.188" v="612" actId="14100"/>
          <ac:picMkLst>
            <pc:docMk/>
            <pc:sldMk cId="3493874438" sldId="2147482622"/>
            <ac:picMk id="5" creationId="{AF0EBAA4-EC40-4DCE-71E0-434F8664E1DE}"/>
          </ac:picMkLst>
        </pc:picChg>
      </pc:sldChg>
      <pc:sldChg chg="addSp delSp modSp new mod ord modNotesTx">
        <pc:chgData name="Betty.Chiu (PT) 邱佩晴" userId="9afe3e61-e655-4e22-9ce3-f79327d95c21" providerId="ADAL" clId="{73D41C37-5029-4B02-8776-0F438AA90C32}" dt="2024-10-16T07:43:28.543" v="707" actId="20577"/>
        <pc:sldMkLst>
          <pc:docMk/>
          <pc:sldMk cId="2096545657" sldId="2147482623"/>
        </pc:sldMkLst>
        <pc:spChg chg="del">
          <ac:chgData name="Betty.Chiu (PT) 邱佩晴" userId="9afe3e61-e655-4e22-9ce3-f79327d95c21" providerId="ADAL" clId="{73D41C37-5029-4B02-8776-0F438AA90C32}" dt="2024-10-14T05:48:04.175" v="95" actId="478"/>
          <ac:spMkLst>
            <pc:docMk/>
            <pc:sldMk cId="2096545657" sldId="2147482623"/>
            <ac:spMk id="2" creationId="{819FFC15-630B-2D5A-60E8-D09AD301F223}"/>
          </ac:spMkLst>
        </pc:spChg>
        <pc:spChg chg="del">
          <ac:chgData name="Betty.Chiu (PT) 邱佩晴" userId="9afe3e61-e655-4e22-9ce3-f79327d95c21" providerId="ADAL" clId="{73D41C37-5029-4B02-8776-0F438AA90C32}" dt="2024-10-14T05:48:03.118" v="94" actId="478"/>
          <ac:spMkLst>
            <pc:docMk/>
            <pc:sldMk cId="2096545657" sldId="2147482623"/>
            <ac:spMk id="3" creationId="{67C0B7F8-5E74-E63A-25D4-08D4B90A4220}"/>
          </ac:spMkLst>
        </pc:spChg>
        <pc:spChg chg="add mod">
          <ac:chgData name="Betty.Chiu (PT) 邱佩晴" userId="9afe3e61-e655-4e22-9ce3-f79327d95c21" providerId="ADAL" clId="{73D41C37-5029-4B02-8776-0F438AA90C32}" dt="2024-10-16T06:20:18.914" v="652" actId="14100"/>
          <ac:spMkLst>
            <pc:docMk/>
            <pc:sldMk cId="2096545657" sldId="2147482623"/>
            <ac:spMk id="5" creationId="{8C07B764-CAA4-DEE6-F0B9-E4400658BA01}"/>
          </ac:spMkLst>
        </pc:spChg>
        <pc:spChg chg="add mod">
          <ac:chgData name="Betty.Chiu (PT) 邱佩晴" userId="9afe3e61-e655-4e22-9ce3-f79327d95c21" providerId="ADAL" clId="{73D41C37-5029-4B02-8776-0F438AA90C32}" dt="2024-10-16T06:20:21.403" v="653" actId="14100"/>
          <ac:spMkLst>
            <pc:docMk/>
            <pc:sldMk cId="2096545657" sldId="2147482623"/>
            <ac:spMk id="6" creationId="{CE81FE2B-1836-872B-A6B9-415D593F8CB2}"/>
          </ac:spMkLst>
        </pc:spChg>
        <pc:spChg chg="add mod">
          <ac:chgData name="Betty.Chiu (PT) 邱佩晴" userId="9afe3e61-e655-4e22-9ce3-f79327d95c21" providerId="ADAL" clId="{73D41C37-5029-4B02-8776-0F438AA90C32}" dt="2024-10-16T06:20:30.955" v="657" actId="14100"/>
          <ac:spMkLst>
            <pc:docMk/>
            <pc:sldMk cId="2096545657" sldId="2147482623"/>
            <ac:spMk id="7" creationId="{CCCF6129-4A52-81E8-48AF-7FE1FF8580D3}"/>
          </ac:spMkLst>
        </pc:spChg>
        <pc:spChg chg="add mod">
          <ac:chgData name="Betty.Chiu (PT) 邱佩晴" userId="9afe3e61-e655-4e22-9ce3-f79327d95c21" providerId="ADAL" clId="{73D41C37-5029-4B02-8776-0F438AA90C32}" dt="2024-10-16T06:20:51.597" v="664" actId="403"/>
          <ac:spMkLst>
            <pc:docMk/>
            <pc:sldMk cId="2096545657" sldId="2147482623"/>
            <ac:spMk id="8" creationId="{D39A922C-686D-9613-51E7-D37D163CB0CA}"/>
          </ac:spMkLst>
        </pc:spChg>
        <pc:spChg chg="add mod">
          <ac:chgData name="Betty.Chiu (PT) 邱佩晴" userId="9afe3e61-e655-4e22-9ce3-f79327d95c21" providerId="ADAL" clId="{73D41C37-5029-4B02-8776-0F438AA90C32}" dt="2024-10-16T06:20:39.274" v="661" actId="14100"/>
          <ac:spMkLst>
            <pc:docMk/>
            <pc:sldMk cId="2096545657" sldId="2147482623"/>
            <ac:spMk id="9" creationId="{31ABE3B1-B6AF-0B64-8031-F2282C55098B}"/>
          </ac:spMkLst>
        </pc:spChg>
        <pc:spChg chg="add mod">
          <ac:chgData name="Betty.Chiu (PT) 邱佩晴" userId="9afe3e61-e655-4e22-9ce3-f79327d95c21" providerId="ADAL" clId="{73D41C37-5029-4B02-8776-0F438AA90C32}" dt="2024-10-16T06:21:00.854" v="667" actId="403"/>
          <ac:spMkLst>
            <pc:docMk/>
            <pc:sldMk cId="2096545657" sldId="2147482623"/>
            <ac:spMk id="10" creationId="{DF390D0E-1369-01C3-A149-14C0992EDB0D}"/>
          </ac:spMkLst>
        </pc:spChg>
        <pc:spChg chg="add mod">
          <ac:chgData name="Betty.Chiu (PT) 邱佩晴" userId="9afe3e61-e655-4e22-9ce3-f79327d95c21" providerId="ADAL" clId="{73D41C37-5029-4B02-8776-0F438AA90C32}" dt="2024-10-16T06:20:15.018" v="651" actId="1076"/>
          <ac:spMkLst>
            <pc:docMk/>
            <pc:sldMk cId="2096545657" sldId="2147482623"/>
            <ac:spMk id="11" creationId="{4CE945F2-469B-D2B4-4159-4713B27D9DF4}"/>
          </ac:spMkLst>
        </pc:spChg>
        <pc:spChg chg="add mod">
          <ac:chgData name="Betty.Chiu (PT) 邱佩晴" userId="9afe3e61-e655-4e22-9ce3-f79327d95c21" providerId="ADAL" clId="{73D41C37-5029-4B02-8776-0F438AA90C32}" dt="2024-10-16T06:20:15.018" v="651" actId="1076"/>
          <ac:spMkLst>
            <pc:docMk/>
            <pc:sldMk cId="2096545657" sldId="2147482623"/>
            <ac:spMk id="12" creationId="{E9EEE463-C6E2-D2D0-D4A8-837424DE5ABC}"/>
          </ac:spMkLst>
        </pc:spChg>
        <pc:spChg chg="add del mod">
          <ac:chgData name="Betty.Chiu (PT) 邱佩晴" userId="9afe3e61-e655-4e22-9ce3-f79327d95c21" providerId="ADAL" clId="{73D41C37-5029-4B02-8776-0F438AA90C32}" dt="2024-10-16T06:19:59.054" v="647" actId="478"/>
          <ac:spMkLst>
            <pc:docMk/>
            <pc:sldMk cId="2096545657" sldId="2147482623"/>
            <ac:spMk id="13" creationId="{45C75E74-431E-53F0-3E13-97302FB51B8F}"/>
          </ac:spMkLst>
        </pc:spChg>
        <pc:spChg chg="add del mod">
          <ac:chgData name="Betty.Chiu (PT) 邱佩晴" userId="9afe3e61-e655-4e22-9ce3-f79327d95c21" providerId="ADAL" clId="{73D41C37-5029-4B02-8776-0F438AA90C32}" dt="2024-10-16T06:20:01.577" v="648" actId="478"/>
          <ac:spMkLst>
            <pc:docMk/>
            <pc:sldMk cId="2096545657" sldId="2147482623"/>
            <ac:spMk id="14" creationId="{92E40915-3A6D-B9A7-44EF-B7700B434189}"/>
          </ac:spMkLst>
        </pc:spChg>
        <pc:spChg chg="add mod">
          <ac:chgData name="Betty.Chiu (PT) 邱佩晴" userId="9afe3e61-e655-4e22-9ce3-f79327d95c21" providerId="ADAL" clId="{73D41C37-5029-4B02-8776-0F438AA90C32}" dt="2024-10-14T14:38:11.291" v="273" actId="108"/>
          <ac:spMkLst>
            <pc:docMk/>
            <pc:sldMk cId="2096545657" sldId="2147482623"/>
            <ac:spMk id="15" creationId="{AB1A0B8F-D593-90A8-70F7-37837837CFE8}"/>
          </ac:spMkLst>
        </pc:spChg>
        <pc:picChg chg="add del mod">
          <ac:chgData name="Betty.Chiu (PT) 邱佩晴" userId="9afe3e61-e655-4e22-9ce3-f79327d95c21" providerId="ADAL" clId="{73D41C37-5029-4B02-8776-0F438AA90C32}" dt="2024-10-14T14:36:24.846" v="252" actId="478"/>
          <ac:picMkLst>
            <pc:docMk/>
            <pc:sldMk cId="2096545657" sldId="2147482623"/>
            <ac:picMk id="16" creationId="{B1BCF057-D822-9581-4A18-8A94EB617CFB}"/>
          </ac:picMkLst>
        </pc:picChg>
      </pc:sldChg>
      <pc:sldChg chg="new del ord">
        <pc:chgData name="Betty.Chiu (PT) 邱佩晴" userId="9afe3e61-e655-4e22-9ce3-f79327d95c21" providerId="ADAL" clId="{73D41C37-5029-4B02-8776-0F438AA90C32}" dt="2024-10-14T14:35:38.339" v="243" actId="47"/>
        <pc:sldMkLst>
          <pc:docMk/>
          <pc:sldMk cId="424985020" sldId="2147482624"/>
        </pc:sldMkLst>
      </pc:sldChg>
      <pc:sldChg chg="addSp delSp modSp new mod modNotesTx">
        <pc:chgData name="Betty.Chiu (PT) 邱佩晴" userId="9afe3e61-e655-4e22-9ce3-f79327d95c21" providerId="ADAL" clId="{73D41C37-5029-4B02-8776-0F438AA90C32}" dt="2024-10-16T06:58:17.079" v="696" actId="1076"/>
        <pc:sldMkLst>
          <pc:docMk/>
          <pc:sldMk cId="431348660" sldId="2147482624"/>
        </pc:sldMkLst>
        <pc:spChg chg="del">
          <ac:chgData name="Betty.Chiu (PT) 邱佩晴" userId="9afe3e61-e655-4e22-9ce3-f79327d95c21" providerId="ADAL" clId="{73D41C37-5029-4B02-8776-0F438AA90C32}" dt="2024-10-14T14:35:58.526" v="245" actId="478"/>
          <ac:spMkLst>
            <pc:docMk/>
            <pc:sldMk cId="431348660" sldId="2147482624"/>
            <ac:spMk id="2" creationId="{8AE34BD8-3C79-8E10-AF19-9D327CC201A6}"/>
          </ac:spMkLst>
        </pc:spChg>
        <pc:spChg chg="del">
          <ac:chgData name="Betty.Chiu (PT) 邱佩晴" userId="9afe3e61-e655-4e22-9ce3-f79327d95c21" providerId="ADAL" clId="{73D41C37-5029-4B02-8776-0F438AA90C32}" dt="2024-10-14T14:36:00.710" v="246" actId="478"/>
          <ac:spMkLst>
            <pc:docMk/>
            <pc:sldMk cId="431348660" sldId="2147482624"/>
            <ac:spMk id="3" creationId="{14E348F3-C2B2-D711-8F57-50F79E38E539}"/>
          </ac:spMkLst>
        </pc:spChg>
        <pc:spChg chg="add mod">
          <ac:chgData name="Betty.Chiu (PT) 邱佩晴" userId="9afe3e61-e655-4e22-9ce3-f79327d95c21" providerId="ADAL" clId="{73D41C37-5029-4B02-8776-0F438AA90C32}" dt="2024-10-14T14:38:00.657" v="272" actId="2711"/>
          <ac:spMkLst>
            <pc:docMk/>
            <pc:sldMk cId="431348660" sldId="2147482624"/>
            <ac:spMk id="5" creationId="{A257D223-7C3F-E6E6-A9B4-67C6849BDE88}"/>
          </ac:spMkLst>
        </pc:spChg>
        <pc:spChg chg="add mod">
          <ac:chgData name="Betty.Chiu (PT) 邱佩晴" userId="9afe3e61-e655-4e22-9ce3-f79327d95c21" providerId="ADAL" clId="{73D41C37-5029-4B02-8776-0F438AA90C32}" dt="2024-10-16T06:22:01.450" v="681" actId="1076"/>
          <ac:spMkLst>
            <pc:docMk/>
            <pc:sldMk cId="431348660" sldId="2147482624"/>
            <ac:spMk id="6" creationId="{8A6F73A1-CC27-FC83-94F8-2E0710DCCB68}"/>
          </ac:spMkLst>
        </pc:spChg>
        <pc:spChg chg="add mod">
          <ac:chgData name="Betty.Chiu (PT) 邱佩晴" userId="9afe3e61-e655-4e22-9ce3-f79327d95c21" providerId="ADAL" clId="{73D41C37-5029-4B02-8776-0F438AA90C32}" dt="2024-10-16T06:22:01.450" v="681" actId="1076"/>
          <ac:spMkLst>
            <pc:docMk/>
            <pc:sldMk cId="431348660" sldId="2147482624"/>
            <ac:spMk id="7" creationId="{E8472FF0-0DD9-2162-2428-CB1C99232BE6}"/>
          </ac:spMkLst>
        </pc:spChg>
        <pc:spChg chg="add mod">
          <ac:chgData name="Betty.Chiu (PT) 邱佩晴" userId="9afe3e61-e655-4e22-9ce3-f79327d95c21" providerId="ADAL" clId="{73D41C37-5029-4B02-8776-0F438AA90C32}" dt="2024-10-16T06:22:01.450" v="681" actId="1076"/>
          <ac:spMkLst>
            <pc:docMk/>
            <pc:sldMk cId="431348660" sldId="2147482624"/>
            <ac:spMk id="8" creationId="{46DF8E80-8B6C-C966-7D56-D415C0BA71C9}"/>
          </ac:spMkLst>
        </pc:spChg>
        <pc:picChg chg="add mod">
          <ac:chgData name="Betty.Chiu (PT) 邱佩晴" userId="9afe3e61-e655-4e22-9ce3-f79327d95c21" providerId="ADAL" clId="{73D41C37-5029-4B02-8776-0F438AA90C32}" dt="2024-10-16T06:58:17.079" v="696" actId="1076"/>
          <ac:picMkLst>
            <pc:docMk/>
            <pc:sldMk cId="431348660" sldId="2147482624"/>
            <ac:picMk id="2" creationId="{E5C30FA7-181D-3563-3123-C8F6F3F7AEAB}"/>
          </ac:picMkLst>
        </pc:picChg>
        <pc:cxnChg chg="add mod">
          <ac:chgData name="Betty.Chiu (PT) 邱佩晴" userId="9afe3e61-e655-4e22-9ce3-f79327d95c21" providerId="ADAL" clId="{73D41C37-5029-4B02-8776-0F438AA90C32}" dt="2024-10-16T06:22:01.450" v="681" actId="1076"/>
          <ac:cxnSpMkLst>
            <pc:docMk/>
            <pc:sldMk cId="431348660" sldId="2147482624"/>
            <ac:cxnSpMk id="9" creationId="{EABB5F2E-35EF-98D7-7C6C-3C248B8FEB64}"/>
          </ac:cxnSpMkLst>
        </pc:cxnChg>
        <pc:cxnChg chg="add mod">
          <ac:chgData name="Betty.Chiu (PT) 邱佩晴" userId="9afe3e61-e655-4e22-9ce3-f79327d95c21" providerId="ADAL" clId="{73D41C37-5029-4B02-8776-0F438AA90C32}" dt="2024-10-16T06:22:01.450" v="681" actId="1076"/>
          <ac:cxnSpMkLst>
            <pc:docMk/>
            <pc:sldMk cId="431348660" sldId="2147482624"/>
            <ac:cxnSpMk id="10" creationId="{5BBD998D-497E-A344-4E9B-E88CBB8410DC}"/>
          </ac:cxnSpMkLst>
        </pc:cxnChg>
        <pc:cxnChg chg="add mod">
          <ac:chgData name="Betty.Chiu (PT) 邱佩晴" userId="9afe3e61-e655-4e22-9ce3-f79327d95c21" providerId="ADAL" clId="{73D41C37-5029-4B02-8776-0F438AA90C32}" dt="2024-10-16T06:22:01.450" v="681" actId="1076"/>
          <ac:cxnSpMkLst>
            <pc:docMk/>
            <pc:sldMk cId="431348660" sldId="2147482624"/>
            <ac:cxnSpMk id="11" creationId="{E32F6645-6466-9C21-9D1D-5472BC8066DE}"/>
          </ac:cxnSpMkLst>
        </pc:cxnChg>
      </pc:sldChg>
      <pc:sldChg chg="add del">
        <pc:chgData name="Betty.Chiu (PT) 邱佩晴" userId="9afe3e61-e655-4e22-9ce3-f79327d95c21" providerId="ADAL" clId="{73D41C37-5029-4B02-8776-0F438AA90C32}" dt="2024-10-14T14:35:09.873" v="237" actId="47"/>
        <pc:sldMkLst>
          <pc:docMk/>
          <pc:sldMk cId="2394490468" sldId="2147482624"/>
        </pc:sldMkLst>
      </pc:sldChg>
      <pc:sldChg chg="new del">
        <pc:chgData name="Betty.Chiu (PT) 邱佩晴" userId="9afe3e61-e655-4e22-9ce3-f79327d95c21" providerId="ADAL" clId="{73D41C37-5029-4B02-8776-0F438AA90C32}" dt="2024-10-14T14:35:25.283" v="239" actId="47"/>
        <pc:sldMkLst>
          <pc:docMk/>
          <pc:sldMk cId="3434187337" sldId="2147482624"/>
        </pc:sldMkLst>
      </pc:sldChg>
      <pc:sldChg chg="addSp delSp modSp new mod">
        <pc:chgData name="Betty.Chiu (PT) 邱佩晴" userId="9afe3e61-e655-4e22-9ce3-f79327d95c21" providerId="ADAL" clId="{73D41C37-5029-4B02-8776-0F438AA90C32}" dt="2024-10-16T06:15:23.713" v="629" actId="14100"/>
        <pc:sldMkLst>
          <pc:docMk/>
          <pc:sldMk cId="2629820031" sldId="2147482636"/>
        </pc:sldMkLst>
        <pc:spChg chg="del">
          <ac:chgData name="Betty.Chiu (PT) 邱佩晴" userId="9afe3e61-e655-4e22-9ce3-f79327d95c21" providerId="ADAL" clId="{73D41C37-5029-4B02-8776-0F438AA90C32}" dt="2024-10-16T06:15:18.807" v="626" actId="478"/>
          <ac:spMkLst>
            <pc:docMk/>
            <pc:sldMk cId="2629820031" sldId="2147482636"/>
            <ac:spMk id="2" creationId="{170E7014-9512-6BBE-9A40-99096A889C47}"/>
          </ac:spMkLst>
        </pc:spChg>
        <pc:spChg chg="del">
          <ac:chgData name="Betty.Chiu (PT) 邱佩晴" userId="9afe3e61-e655-4e22-9ce3-f79327d95c21" providerId="ADAL" clId="{73D41C37-5029-4B02-8776-0F438AA90C32}" dt="2024-10-16T06:15:16.939" v="625" actId="478"/>
          <ac:spMkLst>
            <pc:docMk/>
            <pc:sldMk cId="2629820031" sldId="2147482636"/>
            <ac:spMk id="3" creationId="{753351CE-850A-FA95-5A81-45FEBC8FEAD0}"/>
          </ac:spMkLst>
        </pc:spChg>
        <pc:picChg chg="add mod">
          <ac:chgData name="Betty.Chiu (PT) 邱佩晴" userId="9afe3e61-e655-4e22-9ce3-f79327d95c21" providerId="ADAL" clId="{73D41C37-5029-4B02-8776-0F438AA90C32}" dt="2024-10-16T06:15:23.713" v="629" actId="14100"/>
          <ac:picMkLst>
            <pc:docMk/>
            <pc:sldMk cId="2629820031" sldId="2147482636"/>
            <ac:picMk id="6" creationId="{25E18AEB-DEFA-9C48-6890-D267331D033D}"/>
          </ac:picMkLst>
        </pc:picChg>
      </pc:sldChg>
      <pc:sldChg chg="addSp modSp new mod">
        <pc:chgData name="Betty.Chiu (PT) 邱佩晴" userId="9afe3e61-e655-4e22-9ce3-f79327d95c21" providerId="ADAL" clId="{73D41C37-5029-4B02-8776-0F438AA90C32}" dt="2024-10-16T06:16:34.330" v="633" actId="14100"/>
        <pc:sldMkLst>
          <pc:docMk/>
          <pc:sldMk cId="2189344283" sldId="2147482637"/>
        </pc:sldMkLst>
        <pc:picChg chg="add mod">
          <ac:chgData name="Betty.Chiu (PT) 邱佩晴" userId="9afe3e61-e655-4e22-9ce3-f79327d95c21" providerId="ADAL" clId="{73D41C37-5029-4B02-8776-0F438AA90C32}" dt="2024-10-16T06:16:34.330" v="633" actId="14100"/>
          <ac:picMkLst>
            <pc:docMk/>
            <pc:sldMk cId="2189344283" sldId="2147482637"/>
            <ac:picMk id="6" creationId="{48246BFB-6D21-0D62-BE36-887452E4B6FD}"/>
          </ac:picMkLst>
        </pc:picChg>
      </pc:sldChg>
      <pc:sldChg chg="addSp modSp new mod">
        <pc:chgData name="Betty.Chiu (PT) 邱佩晴" userId="9afe3e61-e655-4e22-9ce3-f79327d95c21" providerId="ADAL" clId="{73D41C37-5029-4B02-8776-0F438AA90C32}" dt="2024-10-16T06:17:15.698" v="639" actId="14100"/>
        <pc:sldMkLst>
          <pc:docMk/>
          <pc:sldMk cId="3338228318" sldId="2147482638"/>
        </pc:sldMkLst>
        <pc:picChg chg="add mod">
          <ac:chgData name="Betty.Chiu (PT) 邱佩晴" userId="9afe3e61-e655-4e22-9ce3-f79327d95c21" providerId="ADAL" clId="{73D41C37-5029-4B02-8776-0F438AA90C32}" dt="2024-10-16T06:17:15.698" v="639" actId="14100"/>
          <ac:picMkLst>
            <pc:docMk/>
            <pc:sldMk cId="3338228318" sldId="2147482638"/>
            <ac:picMk id="6" creationId="{5F157318-8F61-305D-AE64-85CEAAF34951}"/>
          </ac:picMkLst>
        </pc:picChg>
      </pc:sldChg>
      <pc:sldChg chg="addSp delSp modSp new mod">
        <pc:chgData name="Betty.Chiu (PT) 邱佩晴" userId="9afe3e61-e655-4e22-9ce3-f79327d95c21" providerId="ADAL" clId="{73D41C37-5029-4B02-8776-0F438AA90C32}" dt="2024-10-16T06:18:43.250" v="646" actId="1076"/>
        <pc:sldMkLst>
          <pc:docMk/>
          <pc:sldMk cId="2021093422" sldId="2147482639"/>
        </pc:sldMkLst>
        <pc:spChg chg="del">
          <ac:chgData name="Betty.Chiu (PT) 邱佩晴" userId="9afe3e61-e655-4e22-9ce3-f79327d95c21" providerId="ADAL" clId="{73D41C37-5029-4B02-8776-0F438AA90C32}" dt="2024-10-16T06:18:29.995" v="641" actId="478"/>
          <ac:spMkLst>
            <pc:docMk/>
            <pc:sldMk cId="2021093422" sldId="2147482639"/>
            <ac:spMk id="2" creationId="{E0B76E64-F8B3-6DE4-4132-2898CFA46DD1}"/>
          </ac:spMkLst>
        </pc:spChg>
        <pc:spChg chg="del">
          <ac:chgData name="Betty.Chiu (PT) 邱佩晴" userId="9afe3e61-e655-4e22-9ce3-f79327d95c21" providerId="ADAL" clId="{73D41C37-5029-4B02-8776-0F438AA90C32}" dt="2024-10-16T06:18:31.166" v="642" actId="478"/>
          <ac:spMkLst>
            <pc:docMk/>
            <pc:sldMk cId="2021093422" sldId="2147482639"/>
            <ac:spMk id="3" creationId="{539DCDC6-ED35-A8BC-6EC9-0F33B7035C09}"/>
          </ac:spMkLst>
        </pc:spChg>
        <pc:picChg chg="add mod">
          <ac:chgData name="Betty.Chiu (PT) 邱佩晴" userId="9afe3e61-e655-4e22-9ce3-f79327d95c21" providerId="ADAL" clId="{73D41C37-5029-4B02-8776-0F438AA90C32}" dt="2024-10-16T06:18:43.250" v="646" actId="1076"/>
          <ac:picMkLst>
            <pc:docMk/>
            <pc:sldMk cId="2021093422" sldId="2147482639"/>
            <ac:picMk id="6" creationId="{4E888ED1-0B89-6593-A864-A8373F354E88}"/>
          </ac:picMkLst>
        </pc:picChg>
      </pc:sldChg>
      <pc:sldChg chg="addSp delSp modSp new del mod ord">
        <pc:chgData name="Betty.Chiu (PT) 邱佩晴" userId="9afe3e61-e655-4e22-9ce3-f79327d95c21" providerId="ADAL" clId="{73D41C37-5029-4B02-8776-0F438AA90C32}" dt="2024-10-16T06:23:14.507" v="684" actId="47"/>
        <pc:sldMkLst>
          <pc:docMk/>
          <pc:sldMk cId="2286579031" sldId="2147482640"/>
        </pc:sldMkLst>
        <pc:spChg chg="mod">
          <ac:chgData name="Betty.Chiu (PT) 邱佩晴" userId="9afe3e61-e655-4e22-9ce3-f79327d95c21" providerId="ADAL" clId="{73D41C37-5029-4B02-8776-0F438AA90C32}" dt="2024-10-16T06:21:33.095" v="676" actId="27636"/>
          <ac:spMkLst>
            <pc:docMk/>
            <pc:sldMk cId="2286579031" sldId="2147482640"/>
            <ac:spMk id="2" creationId="{A68BA786-0FD8-89C5-F513-D2AB2B618F4A}"/>
          </ac:spMkLst>
        </pc:spChg>
        <pc:spChg chg="del mod">
          <ac:chgData name="Betty.Chiu (PT) 邱佩晴" userId="9afe3e61-e655-4e22-9ce3-f79327d95c21" providerId="ADAL" clId="{73D41C37-5029-4B02-8776-0F438AA90C32}" dt="2024-10-16T06:21:08.226" v="670" actId="478"/>
          <ac:spMkLst>
            <pc:docMk/>
            <pc:sldMk cId="2286579031" sldId="2147482640"/>
            <ac:spMk id="3" creationId="{5AF3D673-FB83-44A4-A243-70CACAED4D7D}"/>
          </ac:spMkLst>
        </pc:spChg>
        <pc:picChg chg="add del mod">
          <ac:chgData name="Betty.Chiu (PT) 邱佩晴" userId="9afe3e61-e655-4e22-9ce3-f79327d95c21" providerId="ADAL" clId="{73D41C37-5029-4B02-8776-0F438AA90C32}" dt="2024-10-16T06:23:12.624" v="683" actId="478"/>
          <ac:picMkLst>
            <pc:docMk/>
            <pc:sldMk cId="2286579031" sldId="2147482640"/>
            <ac:picMk id="6" creationId="{4F6855D6-05FC-4563-1AC1-856A87A68C23}"/>
          </ac:picMkLst>
        </pc:picChg>
      </pc:sldChg>
      <pc:sldChg chg="addSp delSp modSp new mod ord">
        <pc:chgData name="Betty.Chiu (PT) 邱佩晴" userId="9afe3e61-e655-4e22-9ce3-f79327d95c21" providerId="ADAL" clId="{73D41C37-5029-4B02-8776-0F438AA90C32}" dt="2024-10-16T06:23:45.440" v="695"/>
        <pc:sldMkLst>
          <pc:docMk/>
          <pc:sldMk cId="3354231689" sldId="2147482640"/>
        </pc:sldMkLst>
        <pc:spChg chg="del">
          <ac:chgData name="Betty.Chiu (PT) 邱佩晴" userId="9afe3e61-e655-4e22-9ce3-f79327d95c21" providerId="ADAL" clId="{73D41C37-5029-4B02-8776-0F438AA90C32}" dt="2024-10-16T06:23:23.929" v="687" actId="478"/>
          <ac:spMkLst>
            <pc:docMk/>
            <pc:sldMk cId="3354231689" sldId="2147482640"/>
            <ac:spMk id="2" creationId="{4B17273D-5217-F351-A682-D404BEB9D2DE}"/>
          </ac:spMkLst>
        </pc:spChg>
        <pc:spChg chg="del">
          <ac:chgData name="Betty.Chiu (PT) 邱佩晴" userId="9afe3e61-e655-4e22-9ce3-f79327d95c21" providerId="ADAL" clId="{73D41C37-5029-4B02-8776-0F438AA90C32}" dt="2024-10-16T06:23:21.806" v="686" actId="478"/>
          <ac:spMkLst>
            <pc:docMk/>
            <pc:sldMk cId="3354231689" sldId="2147482640"/>
            <ac:spMk id="3" creationId="{045DEAB7-8A53-83B8-47A7-2AAA83C0184A}"/>
          </ac:spMkLst>
        </pc:spChg>
        <pc:picChg chg="add mod">
          <ac:chgData name="Betty.Chiu (PT) 邱佩晴" userId="9afe3e61-e655-4e22-9ce3-f79327d95c21" providerId="ADAL" clId="{73D41C37-5029-4B02-8776-0F438AA90C32}" dt="2024-10-16T06:23:36.708" v="691" actId="14100"/>
          <ac:picMkLst>
            <pc:docMk/>
            <pc:sldMk cId="3354231689" sldId="2147482640"/>
            <ac:picMk id="6" creationId="{B09AE259-A90F-715B-1299-E2667565A5E6}"/>
          </ac:picMkLst>
        </pc:picChg>
      </pc:sldChg>
    </pc:docChg>
  </pc:docChgLst>
  <pc:docChgLst>
    <pc:chgData name="Rebecca Liu 劉依茹" userId="S::rebecca.liu@lotuspharm.com::28e4d197-e403-4e73-946f-379830aa94f1" providerId="AD" clId="Web-{C7B930F8-FE4D-9454-2A63-8E671C15FC1C}"/>
    <pc:docChg chg="modSld">
      <pc:chgData name="Rebecca Liu 劉依茹" userId="S::rebecca.liu@lotuspharm.com::28e4d197-e403-4e73-946f-379830aa94f1" providerId="AD" clId="Web-{C7B930F8-FE4D-9454-2A63-8E671C15FC1C}" dt="2024-10-14T13:21:34.170" v="7" actId="20577"/>
      <pc:docMkLst>
        <pc:docMk/>
      </pc:docMkLst>
      <pc:sldChg chg="modSp">
        <pc:chgData name="Rebecca Liu 劉依茹" userId="S::rebecca.liu@lotuspharm.com::28e4d197-e403-4e73-946f-379830aa94f1" providerId="AD" clId="Web-{C7B930F8-FE4D-9454-2A63-8E671C15FC1C}" dt="2024-10-14T13:21:34.170" v="7" actId="20577"/>
        <pc:sldMkLst>
          <pc:docMk/>
          <pc:sldMk cId="1349055783" sldId="2146848485"/>
        </pc:sldMkLst>
        <pc:spChg chg="mod">
          <ac:chgData name="Rebecca Liu 劉依茹" userId="S::rebecca.liu@lotuspharm.com::28e4d197-e403-4e73-946f-379830aa94f1" providerId="AD" clId="Web-{C7B930F8-FE4D-9454-2A63-8E671C15FC1C}" dt="2024-10-14T13:21:34.170" v="7" actId="20577"/>
          <ac:spMkLst>
            <pc:docMk/>
            <pc:sldMk cId="1349055783" sldId="2146848485"/>
            <ac:spMk id="8" creationId="{0CC0BC93-FAE7-3F66-DB1F-AB053AE3CBA5}"/>
          </ac:spMkLst>
        </pc:spChg>
      </pc:sldChg>
    </pc:docChg>
  </pc:docChgLst>
  <pc:docChgLst>
    <pc:chgData name="Rebecca Liu 劉依茹" userId="S::rebecca.liu@lotuspharm.com::28e4d197-e403-4e73-946f-379830aa94f1" providerId="AD" clId="Web-{62544718-3EEC-D578-6011-E2BD89DD76F4}"/>
    <pc:docChg chg="addSld modSection">
      <pc:chgData name="Rebecca Liu 劉依茹" userId="S::rebecca.liu@lotuspharm.com::28e4d197-e403-4e73-946f-379830aa94f1" providerId="AD" clId="Web-{62544718-3EEC-D578-6011-E2BD89DD76F4}" dt="2024-09-23T00:53:39.886" v="0"/>
      <pc:docMkLst>
        <pc:docMk/>
      </pc:docMkLst>
      <pc:sldChg chg="new">
        <pc:chgData name="Rebecca Liu 劉依茹" userId="S::rebecca.liu@lotuspharm.com::28e4d197-e403-4e73-946f-379830aa94f1" providerId="AD" clId="Web-{62544718-3EEC-D578-6011-E2BD89DD76F4}" dt="2024-09-23T00:53:39.886" v="0"/>
        <pc:sldMkLst>
          <pc:docMk/>
          <pc:sldMk cId="1360977376" sldId="2146848510"/>
        </pc:sldMkLst>
      </pc:sldChg>
    </pc:docChg>
  </pc:docChgLst>
  <pc:docChgLst>
    <pc:chgData name="Amit Razdan" userId="S::amit.razdan@lotuspharm.com::d02d62e0-6366-48f4-b2d1-12f11c545ead" providerId="AD" clId="Web-{CEF79DC1-98AE-2E8F-5DE5-8783F505C956}"/>
    <pc:docChg chg="modSld">
      <pc:chgData name="Amit Razdan" userId="S::amit.razdan@lotuspharm.com::d02d62e0-6366-48f4-b2d1-12f11c545ead" providerId="AD" clId="Web-{CEF79DC1-98AE-2E8F-5DE5-8783F505C956}" dt="2024-09-17T06:27:57.139" v="66" actId="14100"/>
      <pc:docMkLst>
        <pc:docMk/>
      </pc:docMkLst>
      <pc:sldChg chg="addSp delSp modSp">
        <pc:chgData name="Amit Razdan" userId="S::amit.razdan@lotuspharm.com::d02d62e0-6366-48f4-b2d1-12f11c545ead" providerId="AD" clId="Web-{CEF79DC1-98AE-2E8F-5DE5-8783F505C956}" dt="2024-09-17T06:12:04.977" v="15"/>
        <pc:sldMkLst>
          <pc:docMk/>
          <pc:sldMk cId="635439972" sldId="2146848492"/>
        </pc:sldMkLst>
        <pc:spChg chg="add del mod">
          <ac:chgData name="Amit Razdan" userId="S::amit.razdan@lotuspharm.com::d02d62e0-6366-48f4-b2d1-12f11c545ead" providerId="AD" clId="Web-{CEF79DC1-98AE-2E8F-5DE5-8783F505C956}" dt="2024-09-17T06:12:04.977" v="15"/>
          <ac:spMkLst>
            <pc:docMk/>
            <pc:sldMk cId="635439972" sldId="2146848492"/>
            <ac:spMk id="4" creationId="{2A15675B-C640-812E-7921-D4339412C0A4}"/>
          </ac:spMkLst>
        </pc:spChg>
        <pc:picChg chg="add del">
          <ac:chgData name="Amit Razdan" userId="S::amit.razdan@lotuspharm.com::d02d62e0-6366-48f4-b2d1-12f11c545ead" providerId="AD" clId="Web-{CEF79DC1-98AE-2E8F-5DE5-8783F505C956}" dt="2024-09-17T06:12:01.321" v="14"/>
          <ac:picMkLst>
            <pc:docMk/>
            <pc:sldMk cId="635439972" sldId="2146848492"/>
            <ac:picMk id="5" creationId="{5E37D3A6-E3C4-E4D4-95BC-FF1BA752AFCD}"/>
          </ac:picMkLst>
        </pc:picChg>
      </pc:sldChg>
      <pc:sldChg chg="addSp delSp modSp">
        <pc:chgData name="Amit Razdan" userId="S::amit.razdan@lotuspharm.com::d02d62e0-6366-48f4-b2d1-12f11c545ead" providerId="AD" clId="Web-{CEF79DC1-98AE-2E8F-5DE5-8783F505C956}" dt="2024-09-17T06:27:57.139" v="66" actId="14100"/>
        <pc:sldMkLst>
          <pc:docMk/>
          <pc:sldMk cId="1920251589" sldId="2146848494"/>
        </pc:sldMkLst>
        <pc:picChg chg="add mod">
          <ac:chgData name="Amit Razdan" userId="S::amit.razdan@lotuspharm.com::d02d62e0-6366-48f4-b2d1-12f11c545ead" providerId="AD" clId="Web-{CEF79DC1-98AE-2E8F-5DE5-8783F505C956}" dt="2024-09-17T06:27:57.139" v="66" actId="14100"/>
          <ac:picMkLst>
            <pc:docMk/>
            <pc:sldMk cId="1920251589" sldId="2146848494"/>
            <ac:picMk id="4" creationId="{01F4DEB6-C485-A043-B1B5-E4177A5A53B3}"/>
          </ac:picMkLst>
        </pc:picChg>
        <pc:picChg chg="del mod">
          <ac:chgData name="Amit Razdan" userId="S::amit.razdan@lotuspharm.com::d02d62e0-6366-48f4-b2d1-12f11c545ead" providerId="AD" clId="Web-{CEF79DC1-98AE-2E8F-5DE5-8783F505C956}" dt="2024-09-17T06:15:29.966" v="18"/>
          <ac:picMkLst>
            <pc:docMk/>
            <pc:sldMk cId="1920251589" sldId="2146848494"/>
            <ac:picMk id="5" creationId="{C29238B1-A25C-6766-B868-3310CA03FB79}"/>
          </ac:picMkLst>
        </pc:picChg>
      </pc:sldChg>
      <pc:sldChg chg="addSp delSp modSp mod setBg">
        <pc:chgData name="Amit Razdan" userId="S::amit.razdan@lotuspharm.com::d02d62e0-6366-48f4-b2d1-12f11c545ead" providerId="AD" clId="Web-{CEF79DC1-98AE-2E8F-5DE5-8783F505C956}" dt="2024-09-17T06:20:22.301" v="41" actId="1076"/>
        <pc:sldMkLst>
          <pc:docMk/>
          <pc:sldMk cId="4075359967" sldId="2146848495"/>
        </pc:sldMkLst>
        <pc:spChg chg="mod">
          <ac:chgData name="Amit Razdan" userId="S::amit.razdan@lotuspharm.com::d02d62e0-6366-48f4-b2d1-12f11c545ead" providerId="AD" clId="Web-{CEF79DC1-98AE-2E8F-5DE5-8783F505C956}" dt="2024-09-17T06:20:07.785" v="39" actId="1076"/>
          <ac:spMkLst>
            <pc:docMk/>
            <pc:sldMk cId="4075359967" sldId="2146848495"/>
            <ac:spMk id="2" creationId="{E250A744-15C2-5BCD-2AF3-19E1D24DB081}"/>
          </ac:spMkLst>
        </pc:spChg>
        <pc:spChg chg="mod">
          <ac:chgData name="Amit Razdan" userId="S::amit.razdan@lotuspharm.com::d02d62e0-6366-48f4-b2d1-12f11c545ead" providerId="AD" clId="Web-{CEF79DC1-98AE-2E8F-5DE5-8783F505C956}" dt="2024-09-17T06:20:22.301" v="41" actId="1076"/>
          <ac:spMkLst>
            <pc:docMk/>
            <pc:sldMk cId="4075359967" sldId="2146848495"/>
            <ac:spMk id="6" creationId="{AD94D9C0-9B5C-A21B-4905-C8B13752173B}"/>
          </ac:spMkLst>
        </pc:spChg>
        <pc:picChg chg="add del mod ord">
          <ac:chgData name="Amit Razdan" userId="S::amit.razdan@lotuspharm.com::d02d62e0-6366-48f4-b2d1-12f11c545ead" providerId="AD" clId="Web-{CEF79DC1-98AE-2E8F-5DE5-8783F505C956}" dt="2024-09-17T06:20:16.566" v="40" actId="14100"/>
          <ac:picMkLst>
            <pc:docMk/>
            <pc:sldMk cId="4075359967" sldId="2146848495"/>
            <ac:picMk id="4" creationId="{C6D85F13-CB5D-2DB8-EFB9-F88F910DC61F}"/>
          </ac:picMkLst>
        </pc:picChg>
        <pc:picChg chg="del">
          <ac:chgData name="Amit Razdan" userId="S::amit.razdan@lotuspharm.com::d02d62e0-6366-48f4-b2d1-12f11c545ead" providerId="AD" clId="Web-{CEF79DC1-98AE-2E8F-5DE5-8783F505C956}" dt="2024-09-17T06:18:20.689" v="23"/>
          <ac:picMkLst>
            <pc:docMk/>
            <pc:sldMk cId="4075359967" sldId="2146848495"/>
            <ac:picMk id="5" creationId="{0C60D040-8C0C-B3F6-D0F2-7FBCC8D3B3B7}"/>
          </ac:picMkLst>
        </pc:picChg>
      </pc:sldChg>
      <pc:sldChg chg="addSp delSp modSp">
        <pc:chgData name="Amit Razdan" userId="S::amit.razdan@lotuspharm.com::d02d62e0-6366-48f4-b2d1-12f11c545ead" providerId="AD" clId="Web-{CEF79DC1-98AE-2E8F-5DE5-8783F505C956}" dt="2024-09-17T06:24:27.462" v="44" actId="14100"/>
        <pc:sldMkLst>
          <pc:docMk/>
          <pc:sldMk cId="2209974075" sldId="2146848497"/>
        </pc:sldMkLst>
        <pc:picChg chg="add mod">
          <ac:chgData name="Amit Razdan" userId="S::amit.razdan@lotuspharm.com::d02d62e0-6366-48f4-b2d1-12f11c545ead" providerId="AD" clId="Web-{CEF79DC1-98AE-2E8F-5DE5-8783F505C956}" dt="2024-09-17T06:24:27.462" v="44" actId="14100"/>
          <ac:picMkLst>
            <pc:docMk/>
            <pc:sldMk cId="2209974075" sldId="2146848497"/>
            <ac:picMk id="4" creationId="{C943ABAC-2C04-2FB5-2A4D-703A294FFDB1}"/>
          </ac:picMkLst>
        </pc:picChg>
        <pc:picChg chg="del">
          <ac:chgData name="Amit Razdan" userId="S::amit.razdan@lotuspharm.com::d02d62e0-6366-48f4-b2d1-12f11c545ead" providerId="AD" clId="Web-{CEF79DC1-98AE-2E8F-5DE5-8783F505C956}" dt="2024-09-17T06:24:09.103" v="42"/>
          <ac:picMkLst>
            <pc:docMk/>
            <pc:sldMk cId="2209974075" sldId="2146848497"/>
            <ac:picMk id="5" creationId="{71EBD6B5-69EA-42C9-C342-B98CD8DF32DD}"/>
          </ac:picMkLst>
        </pc:picChg>
      </pc:sldChg>
      <pc:sldChg chg="addSp delSp modSp">
        <pc:chgData name="Amit Razdan" userId="S::amit.razdan@lotuspharm.com::d02d62e0-6366-48f4-b2d1-12f11c545ead" providerId="AD" clId="Web-{CEF79DC1-98AE-2E8F-5DE5-8783F505C956}" dt="2024-09-17T06:26:09.105" v="64" actId="20577"/>
        <pc:sldMkLst>
          <pc:docMk/>
          <pc:sldMk cId="782395049" sldId="2146848498"/>
        </pc:sldMkLst>
        <pc:spChg chg="mod">
          <ac:chgData name="Amit Razdan" userId="S::amit.razdan@lotuspharm.com::d02d62e0-6366-48f4-b2d1-12f11c545ead" providerId="AD" clId="Web-{CEF79DC1-98AE-2E8F-5DE5-8783F505C956}" dt="2024-09-17T06:26:09.105" v="64" actId="20577"/>
          <ac:spMkLst>
            <pc:docMk/>
            <pc:sldMk cId="782395049" sldId="2146848498"/>
            <ac:spMk id="2" creationId="{D2593E5B-7EFD-E15B-39C4-5F303BC69E32}"/>
          </ac:spMkLst>
        </pc:spChg>
        <pc:picChg chg="add mod">
          <ac:chgData name="Amit Razdan" userId="S::amit.razdan@lotuspharm.com::d02d62e0-6366-48f4-b2d1-12f11c545ead" providerId="AD" clId="Web-{CEF79DC1-98AE-2E8F-5DE5-8783F505C956}" dt="2024-09-17T06:25:58.621" v="46"/>
          <ac:picMkLst>
            <pc:docMk/>
            <pc:sldMk cId="782395049" sldId="2146848498"/>
            <ac:picMk id="4" creationId="{053B1486-D810-62C1-4CFE-2CCEF8C00590}"/>
          </ac:picMkLst>
        </pc:picChg>
        <pc:picChg chg="del mod">
          <ac:chgData name="Amit Razdan" userId="S::amit.razdan@lotuspharm.com::d02d62e0-6366-48f4-b2d1-12f11c545ead" providerId="AD" clId="Web-{CEF79DC1-98AE-2E8F-5DE5-8783F505C956}" dt="2024-09-17T06:25:09.698" v="45"/>
          <ac:picMkLst>
            <pc:docMk/>
            <pc:sldMk cId="782395049" sldId="2146848498"/>
            <ac:picMk id="6" creationId="{63AF9E40-81FB-8226-B3A0-979B182F76BA}"/>
          </ac:picMkLst>
        </pc:picChg>
      </pc:sldChg>
    </pc:docChg>
  </pc:docChgLst>
  <pc:docChgLst>
    <pc:chgData name="Dheeraj Kumar" userId="S::dheeraj.kumar@lotuspharm.com::e1d40df0-f616-4667-8f66-ea789044ccb7" providerId="AD" clId="Web-{30139BFB-4A4B-489F-9F5D-0B6A368A0BAF}"/>
    <pc:docChg chg="modSld">
      <pc:chgData name="Dheeraj Kumar" userId="S::dheeraj.kumar@lotuspharm.com::e1d40df0-f616-4667-8f66-ea789044ccb7" providerId="AD" clId="Web-{30139BFB-4A4B-489F-9F5D-0B6A368A0BAF}" dt="2024-09-17T06:12:50.584" v="7" actId="14100"/>
      <pc:docMkLst>
        <pc:docMk/>
      </pc:docMkLst>
      <pc:sldChg chg="modSp">
        <pc:chgData name="Dheeraj Kumar" userId="S::dheeraj.kumar@lotuspharm.com::e1d40df0-f616-4667-8f66-ea789044ccb7" providerId="AD" clId="Web-{30139BFB-4A4B-489F-9F5D-0B6A368A0BAF}" dt="2024-09-17T06:11:56.035" v="0" actId="1076"/>
        <pc:sldMkLst>
          <pc:docMk/>
          <pc:sldMk cId="635439972" sldId="2146848492"/>
        </pc:sldMkLst>
        <pc:spChg chg="mod">
          <ac:chgData name="Dheeraj Kumar" userId="S::dheeraj.kumar@lotuspharm.com::e1d40df0-f616-4667-8f66-ea789044ccb7" providerId="AD" clId="Web-{30139BFB-4A4B-489F-9F5D-0B6A368A0BAF}" dt="2024-09-17T06:11:56.035" v="0" actId="1076"/>
          <ac:spMkLst>
            <pc:docMk/>
            <pc:sldMk cId="635439972" sldId="2146848492"/>
            <ac:spMk id="4" creationId="{2A15675B-C640-812E-7921-D4339412C0A4}"/>
          </ac:spMkLst>
        </pc:spChg>
      </pc:sldChg>
      <pc:sldChg chg="modSp">
        <pc:chgData name="Dheeraj Kumar" userId="S::dheeraj.kumar@lotuspharm.com::e1d40df0-f616-4667-8f66-ea789044ccb7" providerId="AD" clId="Web-{30139BFB-4A4B-489F-9F5D-0B6A368A0BAF}" dt="2024-09-17T06:12:50.584" v="7" actId="14100"/>
        <pc:sldMkLst>
          <pc:docMk/>
          <pc:sldMk cId="1920251589" sldId="2146848494"/>
        </pc:sldMkLst>
        <pc:spChg chg="mod">
          <ac:chgData name="Dheeraj Kumar" userId="S::dheeraj.kumar@lotuspharm.com::e1d40df0-f616-4667-8f66-ea789044ccb7" providerId="AD" clId="Web-{30139BFB-4A4B-489F-9F5D-0B6A368A0BAF}" dt="2024-09-17T06:12:44.083" v="5" actId="1076"/>
          <ac:spMkLst>
            <pc:docMk/>
            <pc:sldMk cId="1920251589" sldId="2146848494"/>
            <ac:spMk id="2" creationId="{5E5F0C68-FCB7-F492-9D90-B1555968B45A}"/>
          </ac:spMkLst>
        </pc:spChg>
        <pc:picChg chg="mod">
          <ac:chgData name="Dheeraj Kumar" userId="S::dheeraj.kumar@lotuspharm.com::e1d40df0-f616-4667-8f66-ea789044ccb7" providerId="AD" clId="Web-{30139BFB-4A4B-489F-9F5D-0B6A368A0BAF}" dt="2024-09-17T06:12:50.584" v="7" actId="14100"/>
          <ac:picMkLst>
            <pc:docMk/>
            <pc:sldMk cId="1920251589" sldId="2146848494"/>
            <ac:picMk id="5" creationId="{C29238B1-A25C-6766-B868-3310CA03FB79}"/>
          </ac:picMkLst>
        </pc:picChg>
      </pc:sldChg>
    </pc:docChg>
  </pc:docChgLst>
  <pc:docChgLst>
    <pc:chgData name="Rebecca Liu 劉依茹" userId="S::rebecca.liu@lotuspharm.com::28e4d197-e403-4e73-946f-379830aa94f1" providerId="AD" clId="Web-{A08513AF-632A-C66D-C332-0875B6AE96CB}"/>
    <pc:docChg chg="sldOrd modSection">
      <pc:chgData name="Rebecca Liu 劉依茹" userId="S::rebecca.liu@lotuspharm.com::28e4d197-e403-4e73-946f-379830aa94f1" providerId="AD" clId="Web-{A08513AF-632A-C66D-C332-0875B6AE96CB}" dt="2024-10-14T12:43:52.542" v="5"/>
      <pc:docMkLst>
        <pc:docMk/>
      </pc:docMkLst>
      <pc:sldChg chg="ord">
        <pc:chgData name="Rebecca Liu 劉依茹" userId="S::rebecca.liu@lotuspharm.com::28e4d197-e403-4e73-946f-379830aa94f1" providerId="AD" clId="Web-{A08513AF-632A-C66D-C332-0875B6AE96CB}" dt="2024-10-14T12:43:52.542" v="5"/>
        <pc:sldMkLst>
          <pc:docMk/>
          <pc:sldMk cId="4075359967" sldId="2146848495"/>
        </pc:sldMkLst>
      </pc:sldChg>
      <pc:sldChg chg="ord">
        <pc:chgData name="Rebecca Liu 劉依茹" userId="S::rebecca.liu@lotuspharm.com::28e4d197-e403-4e73-946f-379830aa94f1" providerId="AD" clId="Web-{A08513AF-632A-C66D-C332-0875B6AE96CB}" dt="2024-10-14T12:43:26.400" v="3"/>
        <pc:sldMkLst>
          <pc:docMk/>
          <pc:sldMk cId="1452239299" sldId="2146848514"/>
        </pc:sldMkLst>
      </pc:sldChg>
    </pc:docChg>
  </pc:docChgLst>
  <pc:docChgLst>
    <pc:chgData name="Joopyo(Keith) Kim 김주표" userId="24055556-c960-4f1d-b2f1-59704aaacd32" providerId="ADAL" clId="{53878DBC-2CF3-473A-B4D3-51E2BB86FBE4}"/>
    <pc:docChg chg="undo custSel modSld">
      <pc:chgData name="Joopyo(Keith) Kim 김주표" userId="24055556-c960-4f1d-b2f1-59704aaacd32" providerId="ADAL" clId="{53878DBC-2CF3-473A-B4D3-51E2BB86FBE4}" dt="2024-09-22T16:55:50.250" v="76" actId="20577"/>
      <pc:docMkLst>
        <pc:docMk/>
      </pc:docMkLst>
      <pc:sldChg chg="modSp mod">
        <pc:chgData name="Joopyo(Keith) Kim 김주표" userId="24055556-c960-4f1d-b2f1-59704aaacd32" providerId="ADAL" clId="{53878DBC-2CF3-473A-B4D3-51E2BB86FBE4}" dt="2024-09-22T16:55:50.250" v="76" actId="20577"/>
        <pc:sldMkLst>
          <pc:docMk/>
          <pc:sldMk cId="3201455425" sldId="2146848508"/>
        </pc:sldMkLst>
        <pc:spChg chg="mod">
          <ac:chgData name="Joopyo(Keith) Kim 김주표" userId="24055556-c960-4f1d-b2f1-59704aaacd32" providerId="ADAL" clId="{53878DBC-2CF3-473A-B4D3-51E2BB86FBE4}" dt="2024-09-22T16:55:50.250" v="76" actId="20577"/>
          <ac:spMkLst>
            <pc:docMk/>
            <pc:sldMk cId="3201455425" sldId="2146848508"/>
            <ac:spMk id="3" creationId="{C6A96EB7-2C48-12C1-4A1B-3273A26D19C4}"/>
          </ac:spMkLst>
        </pc:spChg>
      </pc:sldChg>
    </pc:docChg>
  </pc:docChgLst>
  <pc:docChgLst>
    <pc:chgData name="Rebecca Liu 劉依茹" userId="28e4d197-e403-4e73-946f-379830aa94f1" providerId="ADAL" clId="{E77B0158-8331-4BF3-916A-D349C49BF148}"/>
    <pc:docChg chg="custSel addSld modSld addSection modSection">
      <pc:chgData name="Rebecca Liu 劉依茹" userId="28e4d197-e403-4e73-946f-379830aa94f1" providerId="ADAL" clId="{E77B0158-8331-4BF3-916A-D349C49BF148}" dt="2024-09-23T00:22:58.769" v="940" actId="14100"/>
      <pc:docMkLst>
        <pc:docMk/>
      </pc:docMkLst>
      <pc:sldChg chg="modSp mod">
        <pc:chgData name="Rebecca Liu 劉依茹" userId="28e4d197-e403-4e73-946f-379830aa94f1" providerId="ADAL" clId="{E77B0158-8331-4BF3-916A-D349C49BF148}" dt="2024-09-20T05:37:47.494" v="1" actId="732"/>
        <pc:sldMkLst>
          <pc:docMk/>
          <pc:sldMk cId="2209974075" sldId="2146848497"/>
        </pc:sldMkLst>
        <pc:picChg chg="mod modCrop">
          <ac:chgData name="Rebecca Liu 劉依茹" userId="28e4d197-e403-4e73-946f-379830aa94f1" providerId="ADAL" clId="{E77B0158-8331-4BF3-916A-D349C49BF148}" dt="2024-09-20T05:37:47.494" v="1" actId="732"/>
          <ac:picMkLst>
            <pc:docMk/>
            <pc:sldMk cId="2209974075" sldId="2146848497"/>
            <ac:picMk id="4" creationId="{C943ABAC-2C04-2FB5-2A4D-703A294FFDB1}"/>
          </ac:picMkLst>
        </pc:picChg>
      </pc:sldChg>
      <pc:sldChg chg="addSp delSp modSp new mod modClrScheme chgLayout">
        <pc:chgData name="Rebecca Liu 劉依茹" userId="28e4d197-e403-4e73-946f-379830aa94f1" providerId="ADAL" clId="{E77B0158-8331-4BF3-916A-D349C49BF148}" dt="2024-09-23T00:22:58.769" v="940" actId="14100"/>
        <pc:sldMkLst>
          <pc:docMk/>
          <pc:sldMk cId="3541738884" sldId="2146848509"/>
        </pc:sldMkLst>
        <pc:spChg chg="mod">
          <ac:chgData name="Rebecca Liu 劉依茹" userId="28e4d197-e403-4e73-946f-379830aa94f1" providerId="ADAL" clId="{E77B0158-8331-4BF3-916A-D349C49BF148}" dt="2024-09-23T00:12:56.201" v="181" actId="20577"/>
          <ac:spMkLst>
            <pc:docMk/>
            <pc:sldMk cId="3541738884" sldId="2146848509"/>
            <ac:spMk id="2" creationId="{54F85B92-D890-4518-F0B4-45F49504736E}"/>
          </ac:spMkLst>
        </pc:spChg>
        <pc:spChg chg="del">
          <ac:chgData name="Rebecca Liu 劉依茹" userId="28e4d197-e403-4e73-946f-379830aa94f1" providerId="ADAL" clId="{E77B0158-8331-4BF3-916A-D349C49BF148}" dt="2024-09-23T00:10:21.861" v="47" actId="26606"/>
          <ac:spMkLst>
            <pc:docMk/>
            <pc:sldMk cId="3541738884" sldId="2146848509"/>
            <ac:spMk id="3" creationId="{2D4ACAB8-9FBE-B7F4-8D54-1D0FFB4F3BEA}"/>
          </ac:spMkLst>
        </pc:spChg>
        <pc:spChg chg="mod ord">
          <ac:chgData name="Rebecca Liu 劉依茹" userId="28e4d197-e403-4e73-946f-379830aa94f1" providerId="ADAL" clId="{E77B0158-8331-4BF3-916A-D349C49BF148}" dt="2024-09-23T00:10:21.861" v="47" actId="26606"/>
          <ac:spMkLst>
            <pc:docMk/>
            <pc:sldMk cId="3541738884" sldId="2146848509"/>
            <ac:spMk id="4" creationId="{BAE00720-D8F8-AF11-9904-5CD8D8BFC083}"/>
          </ac:spMkLst>
        </pc:spChg>
        <pc:spChg chg="add mod">
          <ac:chgData name="Rebecca Liu 劉依茹" userId="28e4d197-e403-4e73-946f-379830aa94f1" providerId="ADAL" clId="{E77B0158-8331-4BF3-916A-D349C49BF148}" dt="2024-09-23T00:22:47.161" v="939" actId="1038"/>
          <ac:spMkLst>
            <pc:docMk/>
            <pc:sldMk cId="3541738884" sldId="2146848509"/>
            <ac:spMk id="7" creationId="{DE0C148E-4511-D97C-BB1C-34805A3A9C72}"/>
          </ac:spMkLst>
        </pc:spChg>
        <pc:spChg chg="add mod">
          <ac:chgData name="Rebecca Liu 劉依茹" userId="28e4d197-e403-4e73-946f-379830aa94f1" providerId="ADAL" clId="{E77B0158-8331-4BF3-916A-D349C49BF148}" dt="2024-09-23T00:22:31.076" v="931" actId="14100"/>
          <ac:spMkLst>
            <pc:docMk/>
            <pc:sldMk cId="3541738884" sldId="2146848509"/>
            <ac:spMk id="10" creationId="{B5341465-D190-8171-7785-1EEB59486DF9}"/>
          </ac:spMkLst>
        </pc:spChg>
        <pc:picChg chg="add mod modCrop">
          <ac:chgData name="Rebecca Liu 劉依茹" userId="28e4d197-e403-4e73-946f-379830aa94f1" providerId="ADAL" clId="{E77B0158-8331-4BF3-916A-D349C49BF148}" dt="2024-09-23T00:22:58.769" v="940" actId="14100"/>
          <ac:picMkLst>
            <pc:docMk/>
            <pc:sldMk cId="3541738884" sldId="2146848509"/>
            <ac:picMk id="5" creationId="{B570A0C5-BA64-FD0F-3DFA-8CEE59BB2BCC}"/>
          </ac:picMkLst>
        </pc:picChg>
        <pc:picChg chg="add mod modCrop">
          <ac:chgData name="Rebecca Liu 劉依茹" userId="28e4d197-e403-4e73-946f-379830aa94f1" providerId="ADAL" clId="{E77B0158-8331-4BF3-916A-D349C49BF148}" dt="2024-09-23T00:22:58.769" v="940" actId="14100"/>
          <ac:picMkLst>
            <pc:docMk/>
            <pc:sldMk cId="3541738884" sldId="2146848509"/>
            <ac:picMk id="6" creationId="{6ECCCD59-C7E1-3EBD-EF63-DBE6544BB640}"/>
          </ac:picMkLst>
        </pc:picChg>
      </pc:sldChg>
    </pc:docChg>
  </pc:docChgLst>
  <pc:docChgLst>
    <pc:chgData name="Betty.Chiu (PT) 邱佩晴" userId="S::betty.chiu@lotuspharm.com::9afe3e61-e655-4e22-9ce3-f79327d95c21" providerId="AD" clId="Web-{5F41CB32-D448-E25C-6F05-56C2153C8817}"/>
    <pc:docChg chg="modSld">
      <pc:chgData name="Betty.Chiu (PT) 邱佩晴" userId="S::betty.chiu@lotuspharm.com::9afe3e61-e655-4e22-9ce3-f79327d95c21" providerId="AD" clId="Web-{5F41CB32-D448-E25C-6F05-56C2153C8817}" dt="2024-10-16T00:40:43.655" v="7" actId="20577"/>
      <pc:docMkLst>
        <pc:docMk/>
      </pc:docMkLst>
      <pc:sldChg chg="modSp">
        <pc:chgData name="Betty.Chiu (PT) 邱佩晴" userId="S::betty.chiu@lotuspharm.com::9afe3e61-e655-4e22-9ce3-f79327d95c21" providerId="AD" clId="Web-{5F41CB32-D448-E25C-6F05-56C2153C8817}" dt="2024-10-16T00:40:43.655" v="7" actId="20577"/>
        <pc:sldMkLst>
          <pc:docMk/>
          <pc:sldMk cId="3493874438" sldId="2147482622"/>
        </pc:sldMkLst>
        <pc:spChg chg="mod">
          <ac:chgData name="Betty.Chiu (PT) 邱佩晴" userId="S::betty.chiu@lotuspharm.com::9afe3e61-e655-4e22-9ce3-f79327d95c21" providerId="AD" clId="Web-{5F41CB32-D448-E25C-6F05-56C2153C8817}" dt="2024-10-16T00:40:29.233" v="1" actId="20577"/>
          <ac:spMkLst>
            <pc:docMk/>
            <pc:sldMk cId="3493874438" sldId="2147482622"/>
            <ac:spMk id="2" creationId="{25DDA675-9ABF-72B1-06DC-ABE8EEA8A38E}"/>
          </ac:spMkLst>
        </pc:spChg>
        <pc:spChg chg="mod">
          <ac:chgData name="Betty.Chiu (PT) 邱佩晴" userId="S::betty.chiu@lotuspharm.com::9afe3e61-e655-4e22-9ce3-f79327d95c21" providerId="AD" clId="Web-{5F41CB32-D448-E25C-6F05-56C2153C8817}" dt="2024-10-16T00:40:43.655" v="7" actId="20577"/>
          <ac:spMkLst>
            <pc:docMk/>
            <pc:sldMk cId="3493874438" sldId="2147482622"/>
            <ac:spMk id="3" creationId="{C6A96EB7-2C48-12C1-4A1B-3273A26D19C4}"/>
          </ac:spMkLst>
        </pc:spChg>
      </pc:sldChg>
    </pc:docChg>
  </pc:docChgLst>
  <pc:docChgLst>
    <pc:chgData name="Rebecca Liu 劉依茹" userId="S::rebecca.liu@lotuspharm.com::28e4d197-e403-4e73-946f-379830aa94f1" providerId="AD" clId="Web-{E2BDF4E9-783A-2BCB-EAC0-AD145266E12B}"/>
    <pc:docChg chg="modSld">
      <pc:chgData name="Rebecca Liu 劉依茹" userId="S::rebecca.liu@lotuspharm.com::28e4d197-e403-4e73-946f-379830aa94f1" providerId="AD" clId="Web-{E2BDF4E9-783A-2BCB-EAC0-AD145266E12B}" dt="2024-10-14T06:00:13.993" v="90" actId="14100"/>
      <pc:docMkLst>
        <pc:docMk/>
      </pc:docMkLst>
      <pc:sldChg chg="modSp">
        <pc:chgData name="Rebecca Liu 劉依茹" userId="S::rebecca.liu@lotuspharm.com::28e4d197-e403-4e73-946f-379830aa94f1" providerId="AD" clId="Web-{E2BDF4E9-783A-2BCB-EAC0-AD145266E12B}" dt="2024-10-14T05:59:56.430" v="86" actId="20577"/>
        <pc:sldMkLst>
          <pc:docMk/>
          <pc:sldMk cId="978174502" sldId="7535"/>
        </pc:sldMkLst>
        <pc:spChg chg="mod">
          <ac:chgData name="Rebecca Liu 劉依茹" userId="S::rebecca.liu@lotuspharm.com::28e4d197-e403-4e73-946f-379830aa94f1" providerId="AD" clId="Web-{E2BDF4E9-783A-2BCB-EAC0-AD145266E12B}" dt="2024-10-14T05:59:20.070" v="77" actId="20577"/>
          <ac:spMkLst>
            <pc:docMk/>
            <pc:sldMk cId="978174502" sldId="7535"/>
            <ac:spMk id="3" creationId="{36703440-3D6F-431D-B581-A9733AAE2502}"/>
          </ac:spMkLst>
        </pc:spChg>
        <pc:spChg chg="mod">
          <ac:chgData name="Rebecca Liu 劉依茹" userId="S::rebecca.liu@lotuspharm.com::28e4d197-e403-4e73-946f-379830aa94f1" providerId="AD" clId="Web-{E2BDF4E9-783A-2BCB-EAC0-AD145266E12B}" dt="2024-10-14T05:59:56.430" v="86" actId="20577"/>
          <ac:spMkLst>
            <pc:docMk/>
            <pc:sldMk cId="978174502" sldId="7535"/>
            <ac:spMk id="5" creationId="{3CF52243-1C38-4CCE-B6F5-4E7FBA149F92}"/>
          </ac:spMkLst>
        </pc:spChg>
        <pc:spChg chg="mod">
          <ac:chgData name="Rebecca Liu 劉依茹" userId="S::rebecca.liu@lotuspharm.com::28e4d197-e403-4e73-946f-379830aa94f1" providerId="AD" clId="Web-{E2BDF4E9-783A-2BCB-EAC0-AD145266E12B}" dt="2024-10-14T05:59:49.758" v="83" actId="20577"/>
          <ac:spMkLst>
            <pc:docMk/>
            <pc:sldMk cId="978174502" sldId="7535"/>
            <ac:spMk id="6" creationId="{BF037772-2754-4565-870B-C9510E4BD715}"/>
          </ac:spMkLst>
        </pc:spChg>
      </pc:sldChg>
      <pc:sldChg chg="modSp">
        <pc:chgData name="Rebecca Liu 劉依茹" userId="S::rebecca.liu@lotuspharm.com::28e4d197-e403-4e73-946f-379830aa94f1" providerId="AD" clId="Web-{E2BDF4E9-783A-2BCB-EAC0-AD145266E12B}" dt="2024-10-14T05:57:38.504" v="59" actId="20577"/>
        <pc:sldMkLst>
          <pc:docMk/>
          <pc:sldMk cId="458915441" sldId="2145706854"/>
        </pc:sldMkLst>
        <pc:spChg chg="mod">
          <ac:chgData name="Rebecca Liu 劉依茹" userId="S::rebecca.liu@lotuspharm.com::28e4d197-e403-4e73-946f-379830aa94f1" providerId="AD" clId="Web-{E2BDF4E9-783A-2BCB-EAC0-AD145266E12B}" dt="2024-10-14T05:54:30.920" v="40" actId="14100"/>
          <ac:spMkLst>
            <pc:docMk/>
            <pc:sldMk cId="458915441" sldId="2145706854"/>
            <ac:spMk id="7" creationId="{BD638119-1C4B-B248-DE75-EEF74F8BAF09}"/>
          </ac:spMkLst>
        </pc:spChg>
        <pc:spChg chg="mod">
          <ac:chgData name="Rebecca Liu 劉依茹" userId="S::rebecca.liu@lotuspharm.com::28e4d197-e403-4e73-946f-379830aa94f1" providerId="AD" clId="Web-{E2BDF4E9-783A-2BCB-EAC0-AD145266E12B}" dt="2024-10-14T05:56:23.455" v="56" actId="20577"/>
          <ac:spMkLst>
            <pc:docMk/>
            <pc:sldMk cId="458915441" sldId="2145706854"/>
            <ac:spMk id="11" creationId="{4E5284E7-E74A-A218-6E3B-16A7558FA2EF}"/>
          </ac:spMkLst>
        </pc:spChg>
        <pc:spChg chg="mod">
          <ac:chgData name="Rebecca Liu 劉依茹" userId="S::rebecca.liu@lotuspharm.com::28e4d197-e403-4e73-946f-379830aa94f1" providerId="AD" clId="Web-{E2BDF4E9-783A-2BCB-EAC0-AD145266E12B}" dt="2024-10-14T05:57:38.504" v="59" actId="20577"/>
          <ac:spMkLst>
            <pc:docMk/>
            <pc:sldMk cId="458915441" sldId="2145706854"/>
            <ac:spMk id="12" creationId="{2BB22F28-0478-5226-038A-9A3EA10A87FD}"/>
          </ac:spMkLst>
        </pc:spChg>
      </pc:sldChg>
      <pc:sldChg chg="modSp">
        <pc:chgData name="Rebecca Liu 劉依茹" userId="S::rebecca.liu@lotuspharm.com::28e4d197-e403-4e73-946f-379830aa94f1" providerId="AD" clId="Web-{E2BDF4E9-783A-2BCB-EAC0-AD145266E12B}" dt="2024-10-14T06:00:13.993" v="90" actId="14100"/>
        <pc:sldMkLst>
          <pc:docMk/>
          <pc:sldMk cId="57130559" sldId="2146848275"/>
        </pc:sldMkLst>
        <pc:spChg chg="mod">
          <ac:chgData name="Rebecca Liu 劉依茹" userId="S::rebecca.liu@lotuspharm.com::28e4d197-e403-4e73-946f-379830aa94f1" providerId="AD" clId="Web-{E2BDF4E9-783A-2BCB-EAC0-AD145266E12B}" dt="2024-10-14T06:00:13.993" v="90" actId="14100"/>
          <ac:spMkLst>
            <pc:docMk/>
            <pc:sldMk cId="57130559" sldId="2146848275"/>
            <ac:spMk id="2" creationId="{E2290697-7C94-EC9E-7708-DACA9D6D0CFC}"/>
          </ac:spMkLst>
        </pc:spChg>
      </pc:sldChg>
      <pc:sldChg chg="modSp">
        <pc:chgData name="Rebecca Liu 劉依茹" userId="S::rebecca.liu@lotuspharm.com::28e4d197-e403-4e73-946f-379830aa94f1" providerId="AD" clId="Web-{E2BDF4E9-783A-2BCB-EAC0-AD145266E12B}" dt="2024-10-14T05:53:12.074" v="35" actId="20577"/>
        <pc:sldMkLst>
          <pc:docMk/>
          <pc:sldMk cId="531963909" sldId="2147482610"/>
        </pc:sldMkLst>
        <pc:spChg chg="mod">
          <ac:chgData name="Rebecca Liu 劉依茹" userId="S::rebecca.liu@lotuspharm.com::28e4d197-e403-4e73-946f-379830aa94f1" providerId="AD" clId="Web-{E2BDF4E9-783A-2BCB-EAC0-AD145266E12B}" dt="2024-10-14T05:50:16.568" v="2" actId="20577"/>
          <ac:spMkLst>
            <pc:docMk/>
            <pc:sldMk cId="531963909" sldId="2147482610"/>
            <ac:spMk id="3" creationId="{DE9D6952-C316-3F83-EDDC-A3641245F2A4}"/>
          </ac:spMkLst>
        </pc:spChg>
        <pc:spChg chg="mod">
          <ac:chgData name="Rebecca Liu 劉依茹" userId="S::rebecca.liu@lotuspharm.com::28e4d197-e403-4e73-946f-379830aa94f1" providerId="AD" clId="Web-{E2BDF4E9-783A-2BCB-EAC0-AD145266E12B}" dt="2024-10-14T05:53:12.074" v="35" actId="20577"/>
          <ac:spMkLst>
            <pc:docMk/>
            <pc:sldMk cId="531963909" sldId="2147482610"/>
            <ac:spMk id="4" creationId="{9041A107-5C4A-501D-29D6-564FAABD9DDE}"/>
          </ac:spMkLst>
        </pc:spChg>
      </pc:sldChg>
      <pc:sldChg chg="modSp">
        <pc:chgData name="Rebecca Liu 劉依茹" userId="S::rebecca.liu@lotuspharm.com::28e4d197-e403-4e73-946f-379830aa94f1" providerId="AD" clId="Web-{E2BDF4E9-783A-2BCB-EAC0-AD145266E12B}" dt="2024-10-14T05:58:48.272" v="76" actId="20577"/>
        <pc:sldMkLst>
          <pc:docMk/>
          <pc:sldMk cId="2008814104" sldId="2147482612"/>
        </pc:sldMkLst>
        <pc:graphicFrameChg chg="modGraphic">
          <ac:chgData name="Rebecca Liu 劉依茹" userId="S::rebecca.liu@lotuspharm.com::28e4d197-e403-4e73-946f-379830aa94f1" providerId="AD" clId="Web-{E2BDF4E9-783A-2BCB-EAC0-AD145266E12B}" dt="2024-10-14T05:58:48.272" v="76" actId="20577"/>
          <ac:graphicFrameMkLst>
            <pc:docMk/>
            <pc:sldMk cId="2008814104" sldId="2147482612"/>
            <ac:graphicFrameMk id="5" creationId="{5C3332EC-0AAE-C2F8-3C16-F2819393C5D8}"/>
          </ac:graphicFrameMkLst>
        </pc:graphicFrameChg>
      </pc:sldChg>
    </pc:docChg>
  </pc:docChgLst>
  <pc:docChgLst>
    <pc:chgData name="Ella.Tsai (PS) 蔡惠雯" userId="fd3c47ff-f028-40c0-bbec-71f3becde5c4" providerId="ADAL" clId="{725F35CE-8053-42CB-AE61-BBF702B3F274}"/>
    <pc:docChg chg="undo custSel delSld modSld sldOrd modMainMaster delSection modSection">
      <pc:chgData name="Ella.Tsai (PS) 蔡惠雯" userId="fd3c47ff-f028-40c0-bbec-71f3becde5c4" providerId="ADAL" clId="{725F35CE-8053-42CB-AE61-BBF702B3F274}" dt="2024-09-17T02:22:53.558" v="548" actId="5793"/>
      <pc:docMkLst>
        <pc:docMk/>
      </pc:docMkLst>
      <pc:sldChg chg="del">
        <pc:chgData name="Ella.Tsai (PS) 蔡惠雯" userId="fd3c47ff-f028-40c0-bbec-71f3becde5c4" providerId="ADAL" clId="{725F35CE-8053-42CB-AE61-BBF702B3F274}" dt="2024-09-17T02:10:30.199" v="347" actId="47"/>
        <pc:sldMkLst>
          <pc:docMk/>
          <pc:sldMk cId="1999652955" sldId="256"/>
        </pc:sldMkLst>
      </pc:sldChg>
      <pc:sldChg chg="addSp delSp modSp del mod ord">
        <pc:chgData name="Ella.Tsai (PS) 蔡惠雯" userId="fd3c47ff-f028-40c0-bbec-71f3becde5c4" providerId="ADAL" clId="{725F35CE-8053-42CB-AE61-BBF702B3F274}" dt="2024-09-17T02:15:48.713" v="418" actId="47"/>
        <pc:sldMkLst>
          <pc:docMk/>
          <pc:sldMk cId="532316871" sldId="257"/>
        </pc:sldMkLst>
        <pc:spChg chg="mod">
          <ac:chgData name="Ella.Tsai (PS) 蔡惠雯" userId="fd3c47ff-f028-40c0-bbec-71f3becde5c4" providerId="ADAL" clId="{725F35CE-8053-42CB-AE61-BBF702B3F274}" dt="2024-09-17T01:41:15.087" v="146" actId="108"/>
          <ac:spMkLst>
            <pc:docMk/>
            <pc:sldMk cId="532316871" sldId="257"/>
            <ac:spMk id="2" creationId="{1549266E-88B7-FDEF-25C3-A010372AF024}"/>
          </ac:spMkLst>
        </pc:spChg>
        <pc:spChg chg="add mod ord">
          <ac:chgData name="Ella.Tsai (PS) 蔡惠雯" userId="fd3c47ff-f028-40c0-bbec-71f3becde5c4" providerId="ADAL" clId="{725F35CE-8053-42CB-AE61-BBF702B3F274}" dt="2024-09-17T01:59:27.488" v="301" actId="207"/>
          <ac:spMkLst>
            <pc:docMk/>
            <pc:sldMk cId="532316871" sldId="257"/>
            <ac:spMk id="3" creationId="{DD3DFEEF-CBAB-AF32-36FA-D633726EF4B9}"/>
          </ac:spMkLst>
        </pc:spChg>
        <pc:spChg chg="add mod ord">
          <ac:chgData name="Ella.Tsai (PS) 蔡惠雯" userId="fd3c47ff-f028-40c0-bbec-71f3becde5c4" providerId="ADAL" clId="{725F35CE-8053-42CB-AE61-BBF702B3F274}" dt="2024-09-17T02:00:07.994" v="302" actId="207"/>
          <ac:spMkLst>
            <pc:docMk/>
            <pc:sldMk cId="532316871" sldId="257"/>
            <ac:spMk id="4" creationId="{99CAFE39-C2D6-5F56-729C-1A931377C4D6}"/>
          </ac:spMkLst>
        </pc:spChg>
        <pc:spChg chg="add mod ord">
          <ac:chgData name="Ella.Tsai (PS) 蔡惠雯" userId="fd3c47ff-f028-40c0-bbec-71f3becde5c4" providerId="ADAL" clId="{725F35CE-8053-42CB-AE61-BBF702B3F274}" dt="2024-09-17T01:59:27.488" v="301" actId="207"/>
          <ac:spMkLst>
            <pc:docMk/>
            <pc:sldMk cId="532316871" sldId="257"/>
            <ac:spMk id="5" creationId="{E237C0B2-E11B-82D5-7B4E-65F605AA0480}"/>
          </ac:spMkLst>
        </pc:spChg>
        <pc:spChg chg="del mod">
          <ac:chgData name="Ella.Tsai (PS) 蔡惠雯" userId="fd3c47ff-f028-40c0-bbec-71f3becde5c4" providerId="ADAL" clId="{725F35CE-8053-42CB-AE61-BBF702B3F274}" dt="2024-09-17T01:58:24.819" v="299" actId="478"/>
          <ac:spMkLst>
            <pc:docMk/>
            <pc:sldMk cId="532316871" sldId="257"/>
            <ac:spMk id="6" creationId="{09071811-FB30-36D0-E6D2-177A9E25E5A6}"/>
          </ac:spMkLst>
        </pc:spChg>
        <pc:spChg chg="mod">
          <ac:chgData name="Ella.Tsai (PS) 蔡惠雯" userId="fd3c47ff-f028-40c0-bbec-71f3becde5c4" providerId="ADAL" clId="{725F35CE-8053-42CB-AE61-BBF702B3F274}" dt="2024-09-17T01:58:02.161" v="297" actId="1036"/>
          <ac:spMkLst>
            <pc:docMk/>
            <pc:sldMk cId="532316871" sldId="257"/>
            <ac:spMk id="9" creationId="{40C1E48D-725E-2A98-8B07-4E34051793B6}"/>
          </ac:spMkLst>
        </pc:spChg>
        <pc:spChg chg="mod">
          <ac:chgData name="Ella.Tsai (PS) 蔡惠雯" userId="fd3c47ff-f028-40c0-bbec-71f3becde5c4" providerId="ADAL" clId="{725F35CE-8053-42CB-AE61-BBF702B3F274}" dt="2024-09-17T01:58:02.161" v="297" actId="1036"/>
          <ac:spMkLst>
            <pc:docMk/>
            <pc:sldMk cId="532316871" sldId="257"/>
            <ac:spMk id="14" creationId="{B197F978-98EA-9B83-D71B-CFFB50F995B7}"/>
          </ac:spMkLst>
        </pc:spChg>
        <pc:spChg chg="mod">
          <ac:chgData name="Ella.Tsai (PS) 蔡惠雯" userId="fd3c47ff-f028-40c0-bbec-71f3becde5c4" providerId="ADAL" clId="{725F35CE-8053-42CB-AE61-BBF702B3F274}" dt="2024-09-17T01:58:02.161" v="297" actId="1036"/>
          <ac:spMkLst>
            <pc:docMk/>
            <pc:sldMk cId="532316871" sldId="257"/>
            <ac:spMk id="16" creationId="{81F0AA7E-A13E-DB11-91AC-181D8679CF91}"/>
          </ac:spMkLst>
        </pc:spChg>
      </pc:sldChg>
      <pc:sldChg chg="modSp del mod ord">
        <pc:chgData name="Ella.Tsai (PS) 蔡惠雯" userId="fd3c47ff-f028-40c0-bbec-71f3becde5c4" providerId="ADAL" clId="{725F35CE-8053-42CB-AE61-BBF702B3F274}" dt="2024-09-17T02:15:53.861" v="421" actId="47"/>
        <pc:sldMkLst>
          <pc:docMk/>
          <pc:sldMk cId="4115670378" sldId="258"/>
        </pc:sldMkLst>
        <pc:spChg chg="mod">
          <ac:chgData name="Ella.Tsai (PS) 蔡惠雯" userId="fd3c47ff-f028-40c0-bbec-71f3becde5c4" providerId="ADAL" clId="{725F35CE-8053-42CB-AE61-BBF702B3F274}" dt="2024-09-17T02:03:54.670" v="328" actId="14100"/>
          <ac:spMkLst>
            <pc:docMk/>
            <pc:sldMk cId="4115670378" sldId="258"/>
            <ac:spMk id="2" creationId="{25DDA675-9ABF-72B1-06DC-ABE8EEA8A38E}"/>
          </ac:spMkLst>
        </pc:spChg>
        <pc:spChg chg="mod">
          <ac:chgData name="Ella.Tsai (PS) 蔡惠雯" userId="fd3c47ff-f028-40c0-bbec-71f3becde5c4" providerId="ADAL" clId="{725F35CE-8053-42CB-AE61-BBF702B3F274}" dt="2024-09-17T02:00:53.454" v="310" actId="14100"/>
          <ac:spMkLst>
            <pc:docMk/>
            <pc:sldMk cId="4115670378" sldId="258"/>
            <ac:spMk id="3" creationId="{C6A96EB7-2C48-12C1-4A1B-3273A26D19C4}"/>
          </ac:spMkLst>
        </pc:spChg>
      </pc:sldChg>
      <pc:sldChg chg="addSp modSp del mod ord">
        <pc:chgData name="Ella.Tsai (PS) 蔡惠雯" userId="fd3c47ff-f028-40c0-bbec-71f3becde5c4" providerId="ADAL" clId="{725F35CE-8053-42CB-AE61-BBF702B3F274}" dt="2024-09-17T02:15:50.315" v="419" actId="47"/>
        <pc:sldMkLst>
          <pc:docMk/>
          <pc:sldMk cId="4262770090" sldId="259"/>
        </pc:sldMkLst>
        <pc:spChg chg="mod">
          <ac:chgData name="Ella.Tsai (PS) 蔡惠雯" userId="fd3c47ff-f028-40c0-bbec-71f3becde5c4" providerId="ADAL" clId="{725F35CE-8053-42CB-AE61-BBF702B3F274}" dt="2024-09-17T01:41:39.824" v="149" actId="1076"/>
          <ac:spMkLst>
            <pc:docMk/>
            <pc:sldMk cId="4262770090" sldId="259"/>
            <ac:spMk id="2" creationId="{1549266E-88B7-FDEF-25C3-A010372AF024}"/>
          </ac:spMkLst>
        </pc:spChg>
        <pc:spChg chg="add mod ord">
          <ac:chgData name="Ella.Tsai (PS) 蔡惠雯" userId="fd3c47ff-f028-40c0-bbec-71f3becde5c4" providerId="ADAL" clId="{725F35CE-8053-42CB-AE61-BBF702B3F274}" dt="2024-09-17T01:43:50.324" v="172" actId="207"/>
          <ac:spMkLst>
            <pc:docMk/>
            <pc:sldMk cId="4262770090" sldId="259"/>
            <ac:spMk id="3" creationId="{657FD4B6-EE3E-A631-2BD8-C028720BB35A}"/>
          </ac:spMkLst>
        </pc:spChg>
        <pc:spChg chg="add mod ord">
          <ac:chgData name="Ella.Tsai (PS) 蔡惠雯" userId="fd3c47ff-f028-40c0-bbec-71f3becde5c4" providerId="ADAL" clId="{725F35CE-8053-42CB-AE61-BBF702B3F274}" dt="2024-09-17T01:45:13.647" v="184" actId="167"/>
          <ac:spMkLst>
            <pc:docMk/>
            <pc:sldMk cId="4262770090" sldId="259"/>
            <ac:spMk id="4" creationId="{7B906FC8-43DD-DE7C-E494-A26872DEFD7B}"/>
          </ac:spMkLst>
        </pc:spChg>
        <pc:spChg chg="mod">
          <ac:chgData name="Ella.Tsai (PS) 蔡惠雯" userId="fd3c47ff-f028-40c0-bbec-71f3becde5c4" providerId="ADAL" clId="{725F35CE-8053-42CB-AE61-BBF702B3F274}" dt="2024-09-17T01:44:35.471" v="176" actId="403"/>
          <ac:spMkLst>
            <pc:docMk/>
            <pc:sldMk cId="4262770090" sldId="259"/>
            <ac:spMk id="9" creationId="{40C1E48D-725E-2A98-8B07-4E34051793B6}"/>
          </ac:spMkLst>
        </pc:spChg>
        <pc:spChg chg="mod">
          <ac:chgData name="Ella.Tsai (PS) 蔡惠雯" userId="fd3c47ff-f028-40c0-bbec-71f3becde5c4" providerId="ADAL" clId="{725F35CE-8053-42CB-AE61-BBF702B3F274}" dt="2024-09-17T01:44:58.710" v="181" actId="5793"/>
          <ac:spMkLst>
            <pc:docMk/>
            <pc:sldMk cId="4262770090" sldId="259"/>
            <ac:spMk id="14" creationId="{B197F978-98EA-9B83-D71B-CFFB50F995B7}"/>
          </ac:spMkLst>
        </pc:spChg>
      </pc:sldChg>
      <pc:sldChg chg="addSp delSp modSp del mod ord">
        <pc:chgData name="Ella.Tsai (PS) 蔡惠雯" userId="fd3c47ff-f028-40c0-bbec-71f3becde5c4" providerId="ADAL" clId="{725F35CE-8053-42CB-AE61-BBF702B3F274}" dt="2024-09-17T02:15:51.704" v="420" actId="47"/>
        <pc:sldMkLst>
          <pc:docMk/>
          <pc:sldMk cId="1477895486" sldId="260"/>
        </pc:sldMkLst>
        <pc:spChg chg="mod">
          <ac:chgData name="Ella.Tsai (PS) 蔡惠雯" userId="fd3c47ff-f028-40c0-bbec-71f3becde5c4" providerId="ADAL" clId="{725F35CE-8053-42CB-AE61-BBF702B3F274}" dt="2024-09-17T01:48:17.800" v="219" actId="255"/>
          <ac:spMkLst>
            <pc:docMk/>
            <pc:sldMk cId="1477895486" sldId="260"/>
            <ac:spMk id="2" creationId="{1549266E-88B7-FDEF-25C3-A010372AF024}"/>
          </ac:spMkLst>
        </pc:spChg>
        <pc:spChg chg="add mod ord">
          <ac:chgData name="Ella.Tsai (PS) 蔡惠雯" userId="fd3c47ff-f028-40c0-bbec-71f3becde5c4" providerId="ADAL" clId="{725F35CE-8053-42CB-AE61-BBF702B3F274}" dt="2024-09-17T01:46:35.787" v="200" actId="164"/>
          <ac:spMkLst>
            <pc:docMk/>
            <pc:sldMk cId="1477895486" sldId="260"/>
            <ac:spMk id="3" creationId="{71669A72-3304-1B3C-75AB-EBB0595761E8}"/>
          </ac:spMkLst>
        </pc:spChg>
        <pc:spChg chg="add mod ord">
          <ac:chgData name="Ella.Tsai (PS) 蔡惠雯" userId="fd3c47ff-f028-40c0-bbec-71f3becde5c4" providerId="ADAL" clId="{725F35CE-8053-42CB-AE61-BBF702B3F274}" dt="2024-09-17T01:47:13.121" v="205" actId="207"/>
          <ac:spMkLst>
            <pc:docMk/>
            <pc:sldMk cId="1477895486" sldId="260"/>
            <ac:spMk id="5" creationId="{E92408CC-5DC1-296F-6C90-E9B27FA27E30}"/>
          </ac:spMkLst>
        </pc:spChg>
        <pc:spChg chg="del">
          <ac:chgData name="Ella.Tsai (PS) 蔡惠雯" userId="fd3c47ff-f028-40c0-bbec-71f3becde5c4" providerId="ADAL" clId="{725F35CE-8053-42CB-AE61-BBF702B3F274}" dt="2024-09-17T01:46:27.424" v="199" actId="478"/>
          <ac:spMkLst>
            <pc:docMk/>
            <pc:sldMk cId="1477895486" sldId="260"/>
            <ac:spMk id="6" creationId="{09071811-FB30-36D0-E6D2-177A9E25E5A6}"/>
          </ac:spMkLst>
        </pc:spChg>
        <pc:spChg chg="add mod ord">
          <ac:chgData name="Ella.Tsai (PS) 蔡惠雯" userId="fd3c47ff-f028-40c0-bbec-71f3becde5c4" providerId="ADAL" clId="{725F35CE-8053-42CB-AE61-BBF702B3F274}" dt="2024-09-17T01:47:37.003" v="210" actId="167"/>
          <ac:spMkLst>
            <pc:docMk/>
            <pc:sldMk cId="1477895486" sldId="260"/>
            <ac:spMk id="7" creationId="{C6842249-7800-A0C2-B273-7005DA8C119B}"/>
          </ac:spMkLst>
        </pc:spChg>
        <pc:spChg chg="mod">
          <ac:chgData name="Ella.Tsai (PS) 蔡惠雯" userId="fd3c47ff-f028-40c0-bbec-71f3becde5c4" providerId="ADAL" clId="{725F35CE-8053-42CB-AE61-BBF702B3F274}" dt="2024-09-17T01:46:35.787" v="200" actId="164"/>
          <ac:spMkLst>
            <pc:docMk/>
            <pc:sldMk cId="1477895486" sldId="260"/>
            <ac:spMk id="9" creationId="{40C1E48D-725E-2A98-8B07-4E34051793B6}"/>
          </ac:spMkLst>
        </pc:spChg>
        <pc:spChg chg="mod">
          <ac:chgData name="Ella.Tsai (PS) 蔡惠雯" userId="fd3c47ff-f028-40c0-bbec-71f3becde5c4" providerId="ADAL" clId="{725F35CE-8053-42CB-AE61-BBF702B3F274}" dt="2024-09-17T01:47:17.632" v="206" actId="1076"/>
          <ac:spMkLst>
            <pc:docMk/>
            <pc:sldMk cId="1477895486" sldId="260"/>
            <ac:spMk id="14" creationId="{B197F978-98EA-9B83-D71B-CFFB50F995B7}"/>
          </ac:spMkLst>
        </pc:spChg>
        <pc:spChg chg="mod">
          <ac:chgData name="Ella.Tsai (PS) 蔡惠雯" userId="fd3c47ff-f028-40c0-bbec-71f3becde5c4" providerId="ADAL" clId="{725F35CE-8053-42CB-AE61-BBF702B3F274}" dt="2024-09-17T01:47:23.655" v="207" actId="1076"/>
          <ac:spMkLst>
            <pc:docMk/>
            <pc:sldMk cId="1477895486" sldId="260"/>
            <ac:spMk id="16" creationId="{81F0AA7E-A13E-DB11-91AC-181D8679CF91}"/>
          </ac:spMkLst>
        </pc:spChg>
        <pc:grpChg chg="add mod">
          <ac:chgData name="Ella.Tsai (PS) 蔡惠雯" userId="fd3c47ff-f028-40c0-bbec-71f3becde5c4" providerId="ADAL" clId="{725F35CE-8053-42CB-AE61-BBF702B3F274}" dt="2024-09-17T01:46:38.489" v="201" actId="1076"/>
          <ac:grpSpMkLst>
            <pc:docMk/>
            <pc:sldMk cId="1477895486" sldId="260"/>
            <ac:grpSpMk id="4" creationId="{F1FAAE72-5690-2873-879F-7858659476E4}"/>
          </ac:grpSpMkLst>
        </pc:grpChg>
      </pc:sldChg>
      <pc:sldChg chg="del">
        <pc:chgData name="Ella.Tsai (PS) 蔡惠雯" userId="fd3c47ff-f028-40c0-bbec-71f3becde5c4" providerId="ADAL" clId="{725F35CE-8053-42CB-AE61-BBF702B3F274}" dt="2024-09-17T02:10:33.917" v="348" actId="47"/>
        <pc:sldMkLst>
          <pc:docMk/>
          <pc:sldMk cId="2341638711" sldId="262"/>
        </pc:sldMkLst>
      </pc:sldChg>
      <pc:sldChg chg="modSp mod ord">
        <pc:chgData name="Ella.Tsai (PS) 蔡惠雯" userId="fd3c47ff-f028-40c0-bbec-71f3becde5c4" providerId="ADAL" clId="{725F35CE-8053-42CB-AE61-BBF702B3F274}" dt="2024-09-17T01:50:46.053" v="256" actId="313"/>
        <pc:sldMkLst>
          <pc:docMk/>
          <pc:sldMk cId="1520278281" sldId="2007577785"/>
        </pc:sldMkLst>
        <pc:spChg chg="mod">
          <ac:chgData name="Ella.Tsai (PS) 蔡惠雯" userId="fd3c47ff-f028-40c0-bbec-71f3becde5c4" providerId="ADAL" clId="{725F35CE-8053-42CB-AE61-BBF702B3F274}" dt="2024-09-17T01:50:46.053" v="256" actId="313"/>
          <ac:spMkLst>
            <pc:docMk/>
            <pc:sldMk cId="1520278281" sldId="2007577785"/>
            <ac:spMk id="2" creationId="{C1B62E24-8C38-BE41-6B3C-6684AFCF75D2}"/>
          </ac:spMkLst>
        </pc:spChg>
      </pc:sldChg>
      <pc:sldChg chg="modSp mod">
        <pc:chgData name="Ella.Tsai (PS) 蔡惠雯" userId="fd3c47ff-f028-40c0-bbec-71f3becde5c4" providerId="ADAL" clId="{725F35CE-8053-42CB-AE61-BBF702B3F274}" dt="2024-09-17T02:22:53.558" v="548" actId="5793"/>
        <pc:sldMkLst>
          <pc:docMk/>
          <pc:sldMk cId="3081708709" sldId="2146848417"/>
        </pc:sldMkLst>
        <pc:spChg chg="mod">
          <ac:chgData name="Ella.Tsai (PS) 蔡惠雯" userId="fd3c47ff-f028-40c0-bbec-71f3becde5c4" providerId="ADAL" clId="{725F35CE-8053-42CB-AE61-BBF702B3F274}" dt="2024-09-17T02:22:53.558" v="548" actId="5793"/>
          <ac:spMkLst>
            <pc:docMk/>
            <pc:sldMk cId="3081708709" sldId="2146848417"/>
            <ac:spMk id="2" creationId="{752F02AC-D1DE-41A0-FF72-9AAE09DB656B}"/>
          </ac:spMkLst>
        </pc:spChg>
      </pc:sldChg>
      <pc:sldChg chg="del">
        <pc:chgData name="Ella.Tsai (PS) 蔡惠雯" userId="fd3c47ff-f028-40c0-bbec-71f3becde5c4" providerId="ADAL" clId="{725F35CE-8053-42CB-AE61-BBF702B3F274}" dt="2024-09-17T01:30:12.577" v="1" actId="47"/>
        <pc:sldMkLst>
          <pc:docMk/>
          <pc:sldMk cId="2735503258" sldId="2146848474"/>
        </pc:sldMkLst>
      </pc:sldChg>
      <pc:sldChg chg="del">
        <pc:chgData name="Ella.Tsai (PS) 蔡惠雯" userId="fd3c47ff-f028-40c0-bbec-71f3becde5c4" providerId="ADAL" clId="{725F35CE-8053-42CB-AE61-BBF702B3F274}" dt="2024-09-17T01:30:14.466" v="4" actId="47"/>
        <pc:sldMkLst>
          <pc:docMk/>
          <pc:sldMk cId="3806280319" sldId="2146848475"/>
        </pc:sldMkLst>
      </pc:sldChg>
      <pc:sldChg chg="modSp mod">
        <pc:chgData name="Ella.Tsai (PS) 蔡惠雯" userId="fd3c47ff-f028-40c0-bbec-71f3becde5c4" providerId="ADAL" clId="{725F35CE-8053-42CB-AE61-BBF702B3F274}" dt="2024-09-17T01:57:04.391" v="275" actId="1076"/>
        <pc:sldMkLst>
          <pc:docMk/>
          <pc:sldMk cId="2875867912" sldId="2146848476"/>
        </pc:sldMkLst>
        <pc:picChg chg="mod">
          <ac:chgData name="Ella.Tsai (PS) 蔡惠雯" userId="fd3c47ff-f028-40c0-bbec-71f3becde5c4" providerId="ADAL" clId="{725F35CE-8053-42CB-AE61-BBF702B3F274}" dt="2024-09-17T01:57:04.391" v="275" actId="1076"/>
          <ac:picMkLst>
            <pc:docMk/>
            <pc:sldMk cId="2875867912" sldId="2146848476"/>
            <ac:picMk id="5" creationId="{5972F337-51FA-C420-40A2-6637F94B7C20}"/>
          </ac:picMkLst>
        </pc:picChg>
      </pc:sldChg>
      <pc:sldChg chg="del">
        <pc:chgData name="Ella.Tsai (PS) 蔡惠雯" userId="fd3c47ff-f028-40c0-bbec-71f3becde5c4" providerId="ADAL" clId="{725F35CE-8053-42CB-AE61-BBF702B3F274}" dt="2024-09-17T01:30:11.973" v="0" actId="47"/>
        <pc:sldMkLst>
          <pc:docMk/>
          <pc:sldMk cId="791852692" sldId="2146848478"/>
        </pc:sldMkLst>
      </pc:sldChg>
      <pc:sldChg chg="del">
        <pc:chgData name="Ella.Tsai (PS) 蔡惠雯" userId="fd3c47ff-f028-40c0-bbec-71f3becde5c4" providerId="ADAL" clId="{725F35CE-8053-42CB-AE61-BBF702B3F274}" dt="2024-09-17T01:30:13.343" v="2" actId="47"/>
        <pc:sldMkLst>
          <pc:docMk/>
          <pc:sldMk cId="373474207" sldId="2146848479"/>
        </pc:sldMkLst>
      </pc:sldChg>
      <pc:sldChg chg="del">
        <pc:chgData name="Ella.Tsai (PS) 蔡惠雯" userId="fd3c47ff-f028-40c0-bbec-71f3becde5c4" providerId="ADAL" clId="{725F35CE-8053-42CB-AE61-BBF702B3F274}" dt="2024-09-17T01:30:13.943" v="3" actId="47"/>
        <pc:sldMkLst>
          <pc:docMk/>
          <pc:sldMk cId="3371042936" sldId="2146848480"/>
        </pc:sldMkLst>
      </pc:sldChg>
      <pc:sldChg chg="del">
        <pc:chgData name="Ella.Tsai (PS) 蔡惠雯" userId="fd3c47ff-f028-40c0-bbec-71f3becde5c4" providerId="ADAL" clId="{725F35CE-8053-42CB-AE61-BBF702B3F274}" dt="2024-09-17T01:30:15.122" v="5" actId="47"/>
        <pc:sldMkLst>
          <pc:docMk/>
          <pc:sldMk cId="3443473456" sldId="2146848481"/>
        </pc:sldMkLst>
      </pc:sldChg>
      <pc:sldChg chg="del">
        <pc:chgData name="Ella.Tsai (PS) 蔡惠雯" userId="fd3c47ff-f028-40c0-bbec-71f3becde5c4" providerId="ADAL" clId="{725F35CE-8053-42CB-AE61-BBF702B3F274}" dt="2024-09-17T01:30:15.635" v="6" actId="47"/>
        <pc:sldMkLst>
          <pc:docMk/>
          <pc:sldMk cId="4195548120" sldId="2146848482"/>
        </pc:sldMkLst>
      </pc:sldChg>
      <pc:sldChg chg="del">
        <pc:chgData name="Ella.Tsai (PS) 蔡惠雯" userId="fd3c47ff-f028-40c0-bbec-71f3becde5c4" providerId="ADAL" clId="{725F35CE-8053-42CB-AE61-BBF702B3F274}" dt="2024-09-17T01:30:16.789" v="7" actId="47"/>
        <pc:sldMkLst>
          <pc:docMk/>
          <pc:sldMk cId="397490469" sldId="2146848483"/>
        </pc:sldMkLst>
      </pc:sldChg>
      <pc:sldChg chg="addSp delSp modSp mod">
        <pc:chgData name="Ella.Tsai (PS) 蔡惠雯" userId="fd3c47ff-f028-40c0-bbec-71f3becde5c4" providerId="ADAL" clId="{725F35CE-8053-42CB-AE61-BBF702B3F274}" dt="2024-09-17T01:52:30.324" v="265" actId="1076"/>
        <pc:sldMkLst>
          <pc:docMk/>
          <pc:sldMk cId="2474715982" sldId="2146848484"/>
        </pc:sldMkLst>
        <pc:picChg chg="del">
          <ac:chgData name="Ella.Tsai (PS) 蔡惠雯" userId="fd3c47ff-f028-40c0-bbec-71f3becde5c4" providerId="ADAL" clId="{725F35CE-8053-42CB-AE61-BBF702B3F274}" dt="2024-09-17T01:52:18.943" v="262" actId="478"/>
          <ac:picMkLst>
            <pc:docMk/>
            <pc:sldMk cId="2474715982" sldId="2146848484"/>
            <ac:picMk id="3" creationId="{2CF21C0A-7CC5-E929-F320-B8FA525B3655}"/>
          </ac:picMkLst>
        </pc:picChg>
        <pc:picChg chg="add mod">
          <ac:chgData name="Ella.Tsai (PS) 蔡惠雯" userId="fd3c47ff-f028-40c0-bbec-71f3becde5c4" providerId="ADAL" clId="{725F35CE-8053-42CB-AE61-BBF702B3F274}" dt="2024-09-17T01:52:30.324" v="265" actId="1076"/>
          <ac:picMkLst>
            <pc:docMk/>
            <pc:sldMk cId="2474715982" sldId="2146848484"/>
            <ac:picMk id="5" creationId="{D837BBDF-ED27-2059-1629-BE2F44CAFF41}"/>
          </ac:picMkLst>
        </pc:picChg>
      </pc:sldChg>
      <pc:sldChg chg="addSp delSp modSp mod">
        <pc:chgData name="Ella.Tsai (PS) 蔡惠雯" userId="fd3c47ff-f028-40c0-bbec-71f3becde5c4" providerId="ADAL" clId="{725F35CE-8053-42CB-AE61-BBF702B3F274}" dt="2024-09-17T01:52:32.691" v="266" actId="478"/>
        <pc:sldMkLst>
          <pc:docMk/>
          <pc:sldMk cId="1349055783" sldId="2146848485"/>
        </pc:sldMkLst>
        <pc:spChg chg="mod">
          <ac:chgData name="Ella.Tsai (PS) 蔡惠雯" userId="fd3c47ff-f028-40c0-bbec-71f3becde5c4" providerId="ADAL" clId="{725F35CE-8053-42CB-AE61-BBF702B3F274}" dt="2024-09-17T01:51:02.432" v="258" actId="27636"/>
          <ac:spMkLst>
            <pc:docMk/>
            <pc:sldMk cId="1349055783" sldId="2146848485"/>
            <ac:spMk id="8" creationId="{0CC0BC93-FAE7-3F66-DB1F-AB053AE3CBA5}"/>
          </ac:spMkLst>
        </pc:spChg>
        <pc:picChg chg="mod">
          <ac:chgData name="Ella.Tsai (PS) 蔡惠雯" userId="fd3c47ff-f028-40c0-bbec-71f3becde5c4" providerId="ADAL" clId="{725F35CE-8053-42CB-AE61-BBF702B3F274}" dt="2024-09-17T01:51:11.875" v="260" actId="14100"/>
          <ac:picMkLst>
            <pc:docMk/>
            <pc:sldMk cId="1349055783" sldId="2146848485"/>
            <ac:picMk id="2" creationId="{26CAC6B6-2990-5D68-53E5-597055437463}"/>
          </ac:picMkLst>
        </pc:picChg>
        <pc:picChg chg="add del">
          <ac:chgData name="Ella.Tsai (PS) 蔡惠雯" userId="fd3c47ff-f028-40c0-bbec-71f3becde5c4" providerId="ADAL" clId="{725F35CE-8053-42CB-AE61-BBF702B3F274}" dt="2024-09-17T01:52:32.691" v="266" actId="478"/>
          <ac:picMkLst>
            <pc:docMk/>
            <pc:sldMk cId="1349055783" sldId="2146848485"/>
            <ac:picMk id="4" creationId="{C196B154-C0F8-1E37-6EC8-ECD1BB1AE0A0}"/>
          </ac:picMkLst>
        </pc:picChg>
      </pc:sldChg>
      <pc:sldChg chg="del ord">
        <pc:chgData name="Ella.Tsai (PS) 蔡惠雯" userId="fd3c47ff-f028-40c0-bbec-71f3becde5c4" providerId="ADAL" clId="{725F35CE-8053-42CB-AE61-BBF702B3F274}" dt="2024-09-17T01:52:59.732" v="269" actId="47"/>
        <pc:sldMkLst>
          <pc:docMk/>
          <pc:sldMk cId="888736456" sldId="2146848486"/>
        </pc:sldMkLst>
      </pc:sldChg>
      <pc:sldChg chg="del">
        <pc:chgData name="Ella.Tsai (PS) 蔡惠雯" userId="fd3c47ff-f028-40c0-bbec-71f3becde5c4" providerId="ADAL" clId="{725F35CE-8053-42CB-AE61-BBF702B3F274}" dt="2024-09-17T01:30:18.164" v="9" actId="47"/>
        <pc:sldMkLst>
          <pc:docMk/>
          <pc:sldMk cId="2822681855" sldId="2146848487"/>
        </pc:sldMkLst>
      </pc:sldChg>
      <pc:sldChg chg="del">
        <pc:chgData name="Ella.Tsai (PS) 蔡惠雯" userId="fd3c47ff-f028-40c0-bbec-71f3becde5c4" providerId="ADAL" clId="{725F35CE-8053-42CB-AE61-BBF702B3F274}" dt="2024-09-17T01:30:19.018" v="10" actId="47"/>
        <pc:sldMkLst>
          <pc:docMk/>
          <pc:sldMk cId="2060739523" sldId="2146848488"/>
        </pc:sldMkLst>
      </pc:sldChg>
      <pc:sldChg chg="del">
        <pc:chgData name="Ella.Tsai (PS) 蔡惠雯" userId="fd3c47ff-f028-40c0-bbec-71f3becde5c4" providerId="ADAL" clId="{725F35CE-8053-42CB-AE61-BBF702B3F274}" dt="2024-09-17T01:30:20.140" v="11" actId="47"/>
        <pc:sldMkLst>
          <pc:docMk/>
          <pc:sldMk cId="1797338830" sldId="2146848489"/>
        </pc:sldMkLst>
      </pc:sldChg>
      <pc:sldChg chg="del">
        <pc:chgData name="Ella.Tsai (PS) 蔡惠雯" userId="fd3c47ff-f028-40c0-bbec-71f3becde5c4" providerId="ADAL" clId="{725F35CE-8053-42CB-AE61-BBF702B3F274}" dt="2024-09-17T01:30:22.292" v="12" actId="47"/>
        <pc:sldMkLst>
          <pc:docMk/>
          <pc:sldMk cId="1144421762" sldId="2146848490"/>
        </pc:sldMkLst>
      </pc:sldChg>
      <pc:sldChg chg="del">
        <pc:chgData name="Ella.Tsai (PS) 蔡惠雯" userId="fd3c47ff-f028-40c0-bbec-71f3becde5c4" providerId="ADAL" clId="{725F35CE-8053-42CB-AE61-BBF702B3F274}" dt="2024-09-17T01:30:17.437" v="8" actId="47"/>
        <pc:sldMkLst>
          <pc:docMk/>
          <pc:sldMk cId="1372808396" sldId="2146848491"/>
        </pc:sldMkLst>
      </pc:sldChg>
      <pc:sldChg chg="modSp mod">
        <pc:chgData name="Ella.Tsai (PS) 蔡惠雯" userId="fd3c47ff-f028-40c0-bbec-71f3becde5c4" providerId="ADAL" clId="{725F35CE-8053-42CB-AE61-BBF702B3F274}" dt="2024-09-17T01:56:53.115" v="274" actId="166"/>
        <pc:sldMkLst>
          <pc:docMk/>
          <pc:sldMk cId="635439972" sldId="2146848492"/>
        </pc:sldMkLst>
        <pc:picChg chg="ord">
          <ac:chgData name="Ella.Tsai (PS) 蔡惠雯" userId="fd3c47ff-f028-40c0-bbec-71f3becde5c4" providerId="ADAL" clId="{725F35CE-8053-42CB-AE61-BBF702B3F274}" dt="2024-09-17T01:56:53.115" v="274" actId="166"/>
          <ac:picMkLst>
            <pc:docMk/>
            <pc:sldMk cId="635439972" sldId="2146848492"/>
            <ac:picMk id="5" creationId="{5E37D3A6-E3C4-E4D4-95BC-FF1BA752AFCD}"/>
          </ac:picMkLst>
        </pc:picChg>
      </pc:sldChg>
      <pc:sldChg chg="del">
        <pc:chgData name="Ella.Tsai (PS) 蔡惠雯" userId="fd3c47ff-f028-40c0-bbec-71f3becde5c4" providerId="ADAL" clId="{725F35CE-8053-42CB-AE61-BBF702B3F274}" dt="2024-09-17T01:33:13.207" v="32" actId="47"/>
        <pc:sldMkLst>
          <pc:docMk/>
          <pc:sldMk cId="2303301658" sldId="2146848493"/>
        </pc:sldMkLst>
      </pc:sldChg>
      <pc:sldChg chg="addSp delSp modSp mod">
        <pc:chgData name="Ella.Tsai (PS) 蔡惠雯" userId="fd3c47ff-f028-40c0-bbec-71f3becde5c4" providerId="ADAL" clId="{725F35CE-8053-42CB-AE61-BBF702B3F274}" dt="2024-09-17T02:02:36.322" v="322" actId="14100"/>
        <pc:sldMkLst>
          <pc:docMk/>
          <pc:sldMk cId="4075359967" sldId="2146848495"/>
        </pc:sldMkLst>
        <pc:spChg chg="add del mod">
          <ac:chgData name="Ella.Tsai (PS) 蔡惠雯" userId="fd3c47ff-f028-40c0-bbec-71f3becde5c4" providerId="ADAL" clId="{725F35CE-8053-42CB-AE61-BBF702B3F274}" dt="2024-09-17T02:02:36.322" v="322" actId="14100"/>
          <ac:spMkLst>
            <pc:docMk/>
            <pc:sldMk cId="4075359967" sldId="2146848495"/>
            <ac:spMk id="6" creationId="{AD94D9C0-9B5C-A21B-4905-C8B13752173B}"/>
          </ac:spMkLst>
        </pc:spChg>
        <pc:picChg chg="add del mod">
          <ac:chgData name="Ella.Tsai (PS) 蔡惠雯" userId="fd3c47ff-f028-40c0-bbec-71f3becde5c4" providerId="ADAL" clId="{725F35CE-8053-42CB-AE61-BBF702B3F274}" dt="2024-09-17T02:02:31.584" v="321" actId="478"/>
          <ac:picMkLst>
            <pc:docMk/>
            <pc:sldMk cId="4075359967" sldId="2146848495"/>
            <ac:picMk id="5" creationId="{0C60D040-8C0C-B3F6-D0F2-7FBCC8D3B3B7}"/>
          </ac:picMkLst>
        </pc:picChg>
      </pc:sldChg>
      <pc:sldChg chg="del">
        <pc:chgData name="Ella.Tsai (PS) 蔡惠雯" userId="fd3c47ff-f028-40c0-bbec-71f3becde5c4" providerId="ADAL" clId="{725F35CE-8053-42CB-AE61-BBF702B3F274}" dt="2024-09-17T01:33:14.140" v="33" actId="47"/>
        <pc:sldMkLst>
          <pc:docMk/>
          <pc:sldMk cId="987841265" sldId="2146848496"/>
        </pc:sldMkLst>
      </pc:sldChg>
      <pc:sldChg chg="modSp mod">
        <pc:chgData name="Ella.Tsai (PS) 蔡惠雯" userId="fd3c47ff-f028-40c0-bbec-71f3becde5c4" providerId="ADAL" clId="{725F35CE-8053-42CB-AE61-BBF702B3F274}" dt="2024-09-17T02:03:21.129" v="324" actId="14100"/>
        <pc:sldMkLst>
          <pc:docMk/>
          <pc:sldMk cId="782395049" sldId="2146848498"/>
        </pc:sldMkLst>
        <pc:picChg chg="mod">
          <ac:chgData name="Ella.Tsai (PS) 蔡惠雯" userId="fd3c47ff-f028-40c0-bbec-71f3becde5c4" providerId="ADAL" clId="{725F35CE-8053-42CB-AE61-BBF702B3F274}" dt="2024-09-17T02:03:21.129" v="324" actId="14100"/>
          <ac:picMkLst>
            <pc:docMk/>
            <pc:sldMk cId="782395049" sldId="2146848498"/>
            <ac:picMk id="6" creationId="{63AF9E40-81FB-8226-B3A0-979B182F76BA}"/>
          </ac:picMkLst>
        </pc:picChg>
      </pc:sldChg>
      <pc:sldChg chg="addSp delSp modSp mod">
        <pc:chgData name="Ella.Tsai (PS) 蔡惠雯" userId="fd3c47ff-f028-40c0-bbec-71f3becde5c4" providerId="ADAL" clId="{725F35CE-8053-42CB-AE61-BBF702B3F274}" dt="2024-09-17T02:10:25.406" v="346" actId="27636"/>
        <pc:sldMkLst>
          <pc:docMk/>
          <pc:sldMk cId="3545985125" sldId="2146848504"/>
        </pc:sldMkLst>
        <pc:spChg chg="add del mod">
          <ac:chgData name="Ella.Tsai (PS) 蔡惠雯" userId="fd3c47ff-f028-40c0-bbec-71f3becde5c4" providerId="ADAL" clId="{725F35CE-8053-42CB-AE61-BBF702B3F274}" dt="2024-09-17T01:32:13.777" v="16" actId="478"/>
          <ac:spMkLst>
            <pc:docMk/>
            <pc:sldMk cId="3545985125" sldId="2146848504"/>
            <ac:spMk id="4" creationId="{70190F41-2D1B-8733-92F3-A4C8ECE1DEC8}"/>
          </ac:spMkLst>
        </pc:spChg>
        <pc:spChg chg="mod">
          <ac:chgData name="Ella.Tsai (PS) 蔡惠雯" userId="fd3c47ff-f028-40c0-bbec-71f3becde5c4" providerId="ADAL" clId="{725F35CE-8053-42CB-AE61-BBF702B3F274}" dt="2024-09-17T02:10:25.406" v="346" actId="27636"/>
          <ac:spMkLst>
            <pc:docMk/>
            <pc:sldMk cId="3545985125" sldId="2146848504"/>
            <ac:spMk id="6" creationId="{FE1A8335-917F-4F2C-CE73-130D8D7BC229}"/>
          </ac:spMkLst>
        </pc:spChg>
        <pc:spChg chg="del">
          <ac:chgData name="Ella.Tsai (PS) 蔡惠雯" userId="fd3c47ff-f028-40c0-bbec-71f3becde5c4" providerId="ADAL" clId="{725F35CE-8053-42CB-AE61-BBF702B3F274}" dt="2024-09-17T01:32:11.327" v="15" actId="478"/>
          <ac:spMkLst>
            <pc:docMk/>
            <pc:sldMk cId="3545985125" sldId="2146848504"/>
            <ac:spMk id="8" creationId="{0CC0BC93-FAE7-3F66-DB1F-AB053AE3CBA5}"/>
          </ac:spMkLst>
        </pc:spChg>
        <pc:picChg chg="mod">
          <ac:chgData name="Ella.Tsai (PS) 蔡惠雯" userId="fd3c47ff-f028-40c0-bbec-71f3becde5c4" providerId="ADAL" clId="{725F35CE-8053-42CB-AE61-BBF702B3F274}" dt="2024-09-17T01:32:37.845" v="19" actId="1076"/>
          <ac:picMkLst>
            <pc:docMk/>
            <pc:sldMk cId="3545985125" sldId="2146848504"/>
            <ac:picMk id="2" creationId="{26CAC6B6-2990-5D68-53E5-597055437463}"/>
          </ac:picMkLst>
        </pc:picChg>
      </pc:sldChg>
      <pc:sldChg chg="addSp delSp modSp mod">
        <pc:chgData name="Ella.Tsai (PS) 蔡惠雯" userId="fd3c47ff-f028-40c0-bbec-71f3becde5c4" providerId="ADAL" clId="{725F35CE-8053-42CB-AE61-BBF702B3F274}" dt="2024-09-17T02:18:26.568" v="472" actId="167"/>
        <pc:sldMkLst>
          <pc:docMk/>
          <pc:sldMk cId="2481039735" sldId="2146848505"/>
        </pc:sldMkLst>
        <pc:spChg chg="mod">
          <ac:chgData name="Ella.Tsai (PS) 蔡惠雯" userId="fd3c47ff-f028-40c0-bbec-71f3becde5c4" providerId="ADAL" clId="{725F35CE-8053-42CB-AE61-BBF702B3F274}" dt="2024-09-17T02:11:58.783" v="379" actId="255"/>
          <ac:spMkLst>
            <pc:docMk/>
            <pc:sldMk cId="2481039735" sldId="2146848505"/>
            <ac:spMk id="2" creationId="{1549266E-88B7-FDEF-25C3-A010372AF024}"/>
          </ac:spMkLst>
        </pc:spChg>
        <pc:spChg chg="add mod ord">
          <ac:chgData name="Ella.Tsai (PS) 蔡惠雯" userId="fd3c47ff-f028-40c0-bbec-71f3becde5c4" providerId="ADAL" clId="{725F35CE-8053-42CB-AE61-BBF702B3F274}" dt="2024-09-17T02:17:05.980" v="434" actId="167"/>
          <ac:spMkLst>
            <pc:docMk/>
            <pc:sldMk cId="2481039735" sldId="2146848505"/>
            <ac:spMk id="3" creationId="{03D5B97F-C759-61B3-1D27-43D74028CD3B}"/>
          </ac:spMkLst>
        </pc:spChg>
        <pc:spChg chg="add mod ord">
          <ac:chgData name="Ella.Tsai (PS) 蔡惠雯" userId="fd3c47ff-f028-40c0-bbec-71f3becde5c4" providerId="ADAL" clId="{725F35CE-8053-42CB-AE61-BBF702B3F274}" dt="2024-09-17T02:18:03.340" v="465" actId="14100"/>
          <ac:spMkLst>
            <pc:docMk/>
            <pc:sldMk cId="2481039735" sldId="2146848505"/>
            <ac:spMk id="4" creationId="{1E9F6D59-8E5F-F8F3-6BA5-EFC3E41E578F}"/>
          </ac:spMkLst>
        </pc:spChg>
        <pc:spChg chg="add mod ord">
          <ac:chgData name="Ella.Tsai (PS) 蔡惠雯" userId="fd3c47ff-f028-40c0-bbec-71f3becde5c4" providerId="ADAL" clId="{725F35CE-8053-42CB-AE61-BBF702B3F274}" dt="2024-09-17T02:18:26.568" v="472" actId="167"/>
          <ac:spMkLst>
            <pc:docMk/>
            <pc:sldMk cId="2481039735" sldId="2146848505"/>
            <ac:spMk id="5" creationId="{1E4CE15A-BD0B-7286-0D34-185B956897E1}"/>
          </ac:spMkLst>
        </pc:spChg>
        <pc:spChg chg="del">
          <ac:chgData name="Ella.Tsai (PS) 蔡惠雯" userId="fd3c47ff-f028-40c0-bbec-71f3becde5c4" providerId="ADAL" clId="{725F35CE-8053-42CB-AE61-BBF702B3F274}" dt="2024-09-17T02:18:17.430" v="469" actId="478"/>
          <ac:spMkLst>
            <pc:docMk/>
            <pc:sldMk cId="2481039735" sldId="2146848505"/>
            <ac:spMk id="6" creationId="{09071811-FB30-36D0-E6D2-177A9E25E5A6}"/>
          </ac:spMkLst>
        </pc:spChg>
        <pc:spChg chg="mod">
          <ac:chgData name="Ella.Tsai (PS) 蔡惠雯" userId="fd3c47ff-f028-40c0-bbec-71f3becde5c4" providerId="ADAL" clId="{725F35CE-8053-42CB-AE61-BBF702B3F274}" dt="2024-09-17T02:11:10.136" v="363" actId="1076"/>
          <ac:spMkLst>
            <pc:docMk/>
            <pc:sldMk cId="2481039735" sldId="2146848505"/>
            <ac:spMk id="9" creationId="{40C1E48D-725E-2A98-8B07-4E34051793B6}"/>
          </ac:spMkLst>
        </pc:spChg>
        <pc:spChg chg="add del mod">
          <ac:chgData name="Ella.Tsai (PS) 蔡惠雯" userId="fd3c47ff-f028-40c0-bbec-71f3becde5c4" providerId="ADAL" clId="{725F35CE-8053-42CB-AE61-BBF702B3F274}" dt="2024-09-17T02:18:14.349" v="468" actId="1076"/>
          <ac:spMkLst>
            <pc:docMk/>
            <pc:sldMk cId="2481039735" sldId="2146848505"/>
            <ac:spMk id="14" creationId="{B197F978-98EA-9B83-D71B-CFFB50F995B7}"/>
          </ac:spMkLst>
        </pc:spChg>
        <pc:spChg chg="mod">
          <ac:chgData name="Ella.Tsai (PS) 蔡惠雯" userId="fd3c47ff-f028-40c0-bbec-71f3becde5c4" providerId="ADAL" clId="{725F35CE-8053-42CB-AE61-BBF702B3F274}" dt="2024-09-17T02:10:53.786" v="354" actId="1076"/>
          <ac:spMkLst>
            <pc:docMk/>
            <pc:sldMk cId="2481039735" sldId="2146848505"/>
            <ac:spMk id="16" creationId="{81F0AA7E-A13E-DB11-91AC-181D8679CF91}"/>
          </ac:spMkLst>
        </pc:spChg>
      </pc:sldChg>
      <pc:sldChg chg="addSp delSp modSp mod">
        <pc:chgData name="Ella.Tsai (PS) 蔡惠雯" userId="fd3c47ff-f028-40c0-bbec-71f3becde5c4" providerId="ADAL" clId="{725F35CE-8053-42CB-AE61-BBF702B3F274}" dt="2024-09-17T02:17:35.489" v="459" actId="20577"/>
        <pc:sldMkLst>
          <pc:docMk/>
          <pc:sldMk cId="1300305467" sldId="2146848506"/>
        </pc:sldMkLst>
        <pc:spChg chg="mod">
          <ac:chgData name="Ella.Tsai (PS) 蔡惠雯" userId="fd3c47ff-f028-40c0-bbec-71f3becde5c4" providerId="ADAL" clId="{725F35CE-8053-42CB-AE61-BBF702B3F274}" dt="2024-09-17T02:12:35.871" v="391" actId="255"/>
          <ac:spMkLst>
            <pc:docMk/>
            <pc:sldMk cId="1300305467" sldId="2146848506"/>
            <ac:spMk id="2" creationId="{1549266E-88B7-FDEF-25C3-A010372AF024}"/>
          </ac:spMkLst>
        </pc:spChg>
        <pc:spChg chg="add mod ord">
          <ac:chgData name="Ella.Tsai (PS) 蔡惠雯" userId="fd3c47ff-f028-40c0-bbec-71f3becde5c4" providerId="ADAL" clId="{725F35CE-8053-42CB-AE61-BBF702B3F274}" dt="2024-09-17T02:16:39.474" v="428" actId="207"/>
          <ac:spMkLst>
            <pc:docMk/>
            <pc:sldMk cId="1300305467" sldId="2146848506"/>
            <ac:spMk id="3" creationId="{2DA8BB85-EE03-CF59-47BC-F87A6AEB8CD5}"/>
          </ac:spMkLst>
        </pc:spChg>
        <pc:spChg chg="add mod ord">
          <ac:chgData name="Ella.Tsai (PS) 蔡惠雯" userId="fd3c47ff-f028-40c0-bbec-71f3becde5c4" providerId="ADAL" clId="{725F35CE-8053-42CB-AE61-BBF702B3F274}" dt="2024-09-17T02:16:34.157" v="427" actId="207"/>
          <ac:spMkLst>
            <pc:docMk/>
            <pc:sldMk cId="1300305467" sldId="2146848506"/>
            <ac:spMk id="4" creationId="{91DAC73D-43AF-70FA-F1A6-1BD2A93119F6}"/>
          </ac:spMkLst>
        </pc:spChg>
        <pc:spChg chg="del">
          <ac:chgData name="Ella.Tsai (PS) 蔡惠雯" userId="fd3c47ff-f028-40c0-bbec-71f3becde5c4" providerId="ADAL" clId="{725F35CE-8053-42CB-AE61-BBF702B3F274}" dt="2024-09-17T02:12:40.149" v="392" actId="478"/>
          <ac:spMkLst>
            <pc:docMk/>
            <pc:sldMk cId="1300305467" sldId="2146848506"/>
            <ac:spMk id="6" creationId="{09071811-FB30-36D0-E6D2-177A9E25E5A6}"/>
          </ac:spMkLst>
        </pc:spChg>
        <pc:spChg chg="mod">
          <ac:chgData name="Ella.Tsai (PS) 蔡惠雯" userId="fd3c47ff-f028-40c0-bbec-71f3becde5c4" providerId="ADAL" clId="{725F35CE-8053-42CB-AE61-BBF702B3F274}" dt="2024-09-17T02:14:08.729" v="403" actId="14100"/>
          <ac:spMkLst>
            <pc:docMk/>
            <pc:sldMk cId="1300305467" sldId="2146848506"/>
            <ac:spMk id="9" creationId="{40C1E48D-725E-2A98-8B07-4E34051793B6}"/>
          </ac:spMkLst>
        </pc:spChg>
        <pc:spChg chg="mod">
          <ac:chgData name="Ella.Tsai (PS) 蔡惠雯" userId="fd3c47ff-f028-40c0-bbec-71f3becde5c4" providerId="ADAL" clId="{725F35CE-8053-42CB-AE61-BBF702B3F274}" dt="2024-09-17T02:17:35.489" v="459" actId="20577"/>
          <ac:spMkLst>
            <pc:docMk/>
            <pc:sldMk cId="1300305467" sldId="2146848506"/>
            <ac:spMk id="14" creationId="{B197F978-98EA-9B83-D71B-CFFB50F995B7}"/>
          </ac:spMkLst>
        </pc:spChg>
      </pc:sldChg>
      <pc:sldChg chg="addSp modSp mod">
        <pc:chgData name="Ella.Tsai (PS) 蔡惠雯" userId="fd3c47ff-f028-40c0-bbec-71f3becde5c4" providerId="ADAL" clId="{725F35CE-8053-42CB-AE61-BBF702B3F274}" dt="2024-09-17T02:21:01.369" v="534" actId="1036"/>
        <pc:sldMkLst>
          <pc:docMk/>
          <pc:sldMk cId="2124364911" sldId="2146848507"/>
        </pc:sldMkLst>
        <pc:spChg chg="mod">
          <ac:chgData name="Ella.Tsai (PS) 蔡惠雯" userId="fd3c47ff-f028-40c0-bbec-71f3becde5c4" providerId="ADAL" clId="{725F35CE-8053-42CB-AE61-BBF702B3F274}" dt="2024-09-17T02:14:59.203" v="408" actId="1076"/>
          <ac:spMkLst>
            <pc:docMk/>
            <pc:sldMk cId="2124364911" sldId="2146848507"/>
            <ac:spMk id="2" creationId="{1549266E-88B7-FDEF-25C3-A010372AF024}"/>
          </ac:spMkLst>
        </pc:spChg>
        <pc:spChg chg="mod">
          <ac:chgData name="Ella.Tsai (PS) 蔡惠雯" userId="fd3c47ff-f028-40c0-bbec-71f3becde5c4" providerId="ADAL" clId="{725F35CE-8053-42CB-AE61-BBF702B3F274}" dt="2024-09-17T02:20:26.853" v="516" actId="20577"/>
          <ac:spMkLst>
            <pc:docMk/>
            <pc:sldMk cId="2124364911" sldId="2146848507"/>
            <ac:spMk id="9" creationId="{40C1E48D-725E-2A98-8B07-4E34051793B6}"/>
          </ac:spMkLst>
        </pc:spChg>
        <pc:spChg chg="mod">
          <ac:chgData name="Ella.Tsai (PS) 蔡惠雯" userId="fd3c47ff-f028-40c0-bbec-71f3becde5c4" providerId="ADAL" clId="{725F35CE-8053-42CB-AE61-BBF702B3F274}" dt="2024-09-17T02:20:37.429" v="526" actId="20577"/>
          <ac:spMkLst>
            <pc:docMk/>
            <pc:sldMk cId="2124364911" sldId="2146848507"/>
            <ac:spMk id="14" creationId="{B197F978-98EA-9B83-D71B-CFFB50F995B7}"/>
          </ac:spMkLst>
        </pc:spChg>
        <pc:spChg chg="mod">
          <ac:chgData name="Ella.Tsai (PS) 蔡惠雯" userId="fd3c47ff-f028-40c0-bbec-71f3becde5c4" providerId="ADAL" clId="{725F35CE-8053-42CB-AE61-BBF702B3F274}" dt="2024-09-17T02:20:40.400" v="527" actId="20577"/>
          <ac:spMkLst>
            <pc:docMk/>
            <pc:sldMk cId="2124364911" sldId="2146848507"/>
            <ac:spMk id="16" creationId="{81F0AA7E-A13E-DB11-91AC-181D8679CF91}"/>
          </ac:spMkLst>
        </pc:spChg>
        <pc:cxnChg chg="add mod">
          <ac:chgData name="Ella.Tsai (PS) 蔡惠雯" userId="fd3c47ff-f028-40c0-bbec-71f3becde5c4" providerId="ADAL" clId="{725F35CE-8053-42CB-AE61-BBF702B3F274}" dt="2024-09-17T02:21:01.369" v="534" actId="1036"/>
          <ac:cxnSpMkLst>
            <pc:docMk/>
            <pc:sldMk cId="2124364911" sldId="2146848507"/>
            <ac:cxnSpMk id="4" creationId="{C28A1B72-3ACD-BA07-FD17-2EB9436EF330}"/>
          </ac:cxnSpMkLst>
        </pc:cxnChg>
        <pc:cxnChg chg="add mod">
          <ac:chgData name="Ella.Tsai (PS) 蔡惠雯" userId="fd3c47ff-f028-40c0-bbec-71f3becde5c4" providerId="ADAL" clId="{725F35CE-8053-42CB-AE61-BBF702B3F274}" dt="2024-09-17T02:21:01.369" v="534" actId="1036"/>
          <ac:cxnSpMkLst>
            <pc:docMk/>
            <pc:sldMk cId="2124364911" sldId="2146848507"/>
            <ac:cxnSpMk id="8" creationId="{2486DA4A-4D71-58C3-D203-F7C31BD975B0}"/>
          </ac:cxnSpMkLst>
        </pc:cxnChg>
        <pc:cxnChg chg="add mod">
          <ac:chgData name="Ella.Tsai (PS) 蔡惠雯" userId="fd3c47ff-f028-40c0-bbec-71f3becde5c4" providerId="ADAL" clId="{725F35CE-8053-42CB-AE61-BBF702B3F274}" dt="2024-09-17T02:21:01.369" v="534" actId="1036"/>
          <ac:cxnSpMkLst>
            <pc:docMk/>
            <pc:sldMk cId="2124364911" sldId="2146848507"/>
            <ac:cxnSpMk id="10" creationId="{62B083FA-7667-DA13-A167-59B57B239D96}"/>
          </ac:cxnSpMkLst>
        </pc:cxnChg>
      </pc:sldChg>
      <pc:sldChg chg="modSp mod">
        <pc:chgData name="Ella.Tsai (PS) 蔡惠雯" userId="fd3c47ff-f028-40c0-bbec-71f3becde5c4" providerId="ADAL" clId="{725F35CE-8053-42CB-AE61-BBF702B3F274}" dt="2024-09-17T02:15:37.844" v="417" actId="1076"/>
        <pc:sldMkLst>
          <pc:docMk/>
          <pc:sldMk cId="3201455425" sldId="2146848508"/>
        </pc:sldMkLst>
        <pc:spChg chg="mod">
          <ac:chgData name="Ella.Tsai (PS) 蔡惠雯" userId="fd3c47ff-f028-40c0-bbec-71f3becde5c4" providerId="ADAL" clId="{725F35CE-8053-42CB-AE61-BBF702B3F274}" dt="2024-09-17T02:15:30.284" v="415" actId="14100"/>
          <ac:spMkLst>
            <pc:docMk/>
            <pc:sldMk cId="3201455425" sldId="2146848508"/>
            <ac:spMk id="2" creationId="{25DDA675-9ABF-72B1-06DC-ABE8EEA8A38E}"/>
          </ac:spMkLst>
        </pc:spChg>
        <pc:spChg chg="mod">
          <ac:chgData name="Ella.Tsai (PS) 蔡惠雯" userId="fd3c47ff-f028-40c0-bbec-71f3becde5c4" providerId="ADAL" clId="{725F35CE-8053-42CB-AE61-BBF702B3F274}" dt="2024-09-17T02:15:37.844" v="417" actId="1076"/>
          <ac:spMkLst>
            <pc:docMk/>
            <pc:sldMk cId="3201455425" sldId="2146848508"/>
            <ac:spMk id="3" creationId="{C6A96EB7-2C48-12C1-4A1B-3273A26D19C4}"/>
          </ac:spMkLst>
        </pc:spChg>
      </pc:sldChg>
      <pc:sldMasterChg chg="delSldLayout modSldLayout">
        <pc:chgData name="Ella.Tsai (PS) 蔡惠雯" userId="fd3c47ff-f028-40c0-bbec-71f3becde5c4" providerId="ADAL" clId="{725F35CE-8053-42CB-AE61-BBF702B3F274}" dt="2024-09-17T02:00:22.566" v="304" actId="478"/>
        <pc:sldMasterMkLst>
          <pc:docMk/>
          <pc:sldMasterMk cId="3971860428" sldId="2147483661"/>
        </pc:sldMasterMkLst>
        <pc:sldLayoutChg chg="del">
          <pc:chgData name="Ella.Tsai (PS) 蔡惠雯" userId="fd3c47ff-f028-40c0-bbec-71f3becde5c4" providerId="ADAL" clId="{725F35CE-8053-42CB-AE61-BBF702B3F274}" dt="2024-09-17T01:52:59.732" v="269" actId="47"/>
          <pc:sldLayoutMkLst>
            <pc:docMk/>
            <pc:sldMasterMk cId="3971860428" sldId="2147483661"/>
            <pc:sldLayoutMk cId="978523730" sldId="2147483691"/>
          </pc:sldLayoutMkLst>
        </pc:sldLayoutChg>
        <pc:sldLayoutChg chg="addSp delSp modSp mod">
          <pc:chgData name="Ella.Tsai (PS) 蔡惠雯" userId="fd3c47ff-f028-40c0-bbec-71f3becde5c4" providerId="ADAL" clId="{725F35CE-8053-42CB-AE61-BBF702B3F274}" dt="2024-09-17T01:57:47.575" v="276" actId="21"/>
          <pc:sldLayoutMkLst>
            <pc:docMk/>
            <pc:sldMasterMk cId="3971860428" sldId="2147483661"/>
            <pc:sldLayoutMk cId="1221737540" sldId="2147483693"/>
          </pc:sldLayoutMkLst>
          <pc:picChg chg="add del mod">
            <ac:chgData name="Ella.Tsai (PS) 蔡惠雯" userId="fd3c47ff-f028-40c0-bbec-71f3becde5c4" providerId="ADAL" clId="{725F35CE-8053-42CB-AE61-BBF702B3F274}" dt="2024-09-17T01:57:47.575" v="276" actId="21"/>
            <ac:picMkLst>
              <pc:docMk/>
              <pc:sldMasterMk cId="3971860428" sldId="2147483661"/>
              <pc:sldLayoutMk cId="1221737540" sldId="2147483693"/>
              <ac:picMk id="6" creationId="{3BE9F423-5994-419E-E2C1-F302B8F5BA0B}"/>
            </ac:picMkLst>
          </pc:picChg>
        </pc:sldLayoutChg>
        <pc:sldLayoutChg chg="addSp delSp modSp mod">
          <pc:chgData name="Ella.Tsai (PS) 蔡惠雯" userId="fd3c47ff-f028-40c0-bbec-71f3becde5c4" providerId="ADAL" clId="{725F35CE-8053-42CB-AE61-BBF702B3F274}" dt="2024-09-17T02:00:22.566" v="304" actId="478"/>
          <pc:sldLayoutMkLst>
            <pc:docMk/>
            <pc:sldMasterMk cId="3971860428" sldId="2147483661"/>
            <pc:sldLayoutMk cId="605448712" sldId="2147483696"/>
          </pc:sldLayoutMkLst>
          <pc:spChg chg="del">
            <ac:chgData name="Ella.Tsai (PS) 蔡惠雯" userId="fd3c47ff-f028-40c0-bbec-71f3becde5c4" providerId="ADAL" clId="{725F35CE-8053-42CB-AE61-BBF702B3F274}" dt="2024-09-17T02:00:22.566" v="304" actId="478"/>
            <ac:spMkLst>
              <pc:docMk/>
              <pc:sldMasterMk cId="3971860428" sldId="2147483661"/>
              <pc:sldLayoutMk cId="605448712" sldId="2147483696"/>
              <ac:spMk id="4" creationId="{70BAE770-8363-44CD-8A22-AB26C5C5361B}"/>
            </ac:spMkLst>
          </pc:spChg>
          <pc:spChg chg="del">
            <ac:chgData name="Ella.Tsai (PS) 蔡惠雯" userId="fd3c47ff-f028-40c0-bbec-71f3becde5c4" providerId="ADAL" clId="{725F35CE-8053-42CB-AE61-BBF702B3F274}" dt="2024-09-17T02:00:22.566" v="304" actId="478"/>
            <ac:spMkLst>
              <pc:docMk/>
              <pc:sldMasterMk cId="3971860428" sldId="2147483661"/>
              <pc:sldLayoutMk cId="605448712" sldId="2147483696"/>
              <ac:spMk id="5" creationId="{36E618F2-3B8E-4449-91E7-F8AA4960938F}"/>
            </ac:spMkLst>
          </pc:spChg>
          <pc:spChg chg="del">
            <ac:chgData name="Ella.Tsai (PS) 蔡惠雯" userId="fd3c47ff-f028-40c0-bbec-71f3becde5c4" providerId="ADAL" clId="{725F35CE-8053-42CB-AE61-BBF702B3F274}" dt="2024-09-17T02:00:20.295" v="303" actId="478"/>
            <ac:spMkLst>
              <pc:docMk/>
              <pc:sldMasterMk cId="3971860428" sldId="2147483661"/>
              <pc:sldLayoutMk cId="605448712" sldId="2147483696"/>
              <ac:spMk id="7" creationId="{13B7BB51-92B8-4089-8DAB-1202A4D1C6A3}"/>
            </ac:spMkLst>
          </pc:spChg>
          <pc:picChg chg="add mod">
            <ac:chgData name="Ella.Tsai (PS) 蔡惠雯" userId="fd3c47ff-f028-40c0-bbec-71f3becde5c4" providerId="ADAL" clId="{725F35CE-8053-42CB-AE61-BBF702B3F274}" dt="2024-09-17T01:58:13.624" v="298" actId="14100"/>
            <ac:picMkLst>
              <pc:docMk/>
              <pc:sldMasterMk cId="3971860428" sldId="2147483661"/>
              <pc:sldLayoutMk cId="605448712" sldId="2147483696"/>
              <ac:picMk id="8" creationId="{3BE9F423-5994-419E-E2C1-F302B8F5BA0B}"/>
            </ac:picMkLst>
          </pc:picChg>
        </pc:sldLayoutChg>
      </pc:sldMasterChg>
    </pc:docChg>
  </pc:docChgLst>
  <pc:docChgLst>
    <pc:chgData name="Ella.Tsai (PS) 蔡惠雯" userId="fd3c47ff-f028-40c0-bbec-71f3becde5c4" providerId="ADAL" clId="{7C5C5DF2-AD68-4241-ACEF-768F6CA13160}"/>
    <pc:docChg chg="custSel delSld modSld sldOrd modSection">
      <pc:chgData name="Ella.Tsai (PS) 蔡惠雯" userId="fd3c47ff-f028-40c0-bbec-71f3becde5c4" providerId="ADAL" clId="{7C5C5DF2-AD68-4241-ACEF-768F6CA13160}" dt="2024-09-23T04:18:55.439" v="61" actId="1076"/>
      <pc:docMkLst>
        <pc:docMk/>
      </pc:docMkLst>
      <pc:sldChg chg="del">
        <pc:chgData name="Ella.Tsai (PS) 蔡惠雯" userId="fd3c47ff-f028-40c0-bbec-71f3becde5c4" providerId="ADAL" clId="{7C5C5DF2-AD68-4241-ACEF-768F6CA13160}" dt="2024-09-23T04:00:04.123" v="3" actId="47"/>
        <pc:sldMkLst>
          <pc:docMk/>
          <pc:sldMk cId="2875867912" sldId="2146848476"/>
        </pc:sldMkLst>
      </pc:sldChg>
      <pc:sldChg chg="ord">
        <pc:chgData name="Ella.Tsai (PS) 蔡惠雯" userId="fd3c47ff-f028-40c0-bbec-71f3becde5c4" providerId="ADAL" clId="{7C5C5DF2-AD68-4241-ACEF-768F6CA13160}" dt="2024-09-23T04:04:43.510" v="31"/>
        <pc:sldMkLst>
          <pc:docMk/>
          <pc:sldMk cId="2474715982" sldId="2146848484"/>
        </pc:sldMkLst>
      </pc:sldChg>
      <pc:sldChg chg="modSp mod">
        <pc:chgData name="Ella.Tsai (PS) 蔡惠雯" userId="fd3c47ff-f028-40c0-bbec-71f3becde5c4" providerId="ADAL" clId="{7C5C5DF2-AD68-4241-ACEF-768F6CA13160}" dt="2024-09-23T04:07:51.279" v="32" actId="6549"/>
        <pc:sldMkLst>
          <pc:docMk/>
          <pc:sldMk cId="1349055783" sldId="2146848485"/>
        </pc:sldMkLst>
        <pc:spChg chg="mod">
          <ac:chgData name="Ella.Tsai (PS) 蔡惠雯" userId="fd3c47ff-f028-40c0-bbec-71f3becde5c4" providerId="ADAL" clId="{7C5C5DF2-AD68-4241-ACEF-768F6CA13160}" dt="2024-09-23T04:07:51.279" v="32" actId="6549"/>
          <ac:spMkLst>
            <pc:docMk/>
            <pc:sldMk cId="1349055783" sldId="2146848485"/>
            <ac:spMk id="8" creationId="{0CC0BC93-FAE7-3F66-DB1F-AB053AE3CBA5}"/>
          </ac:spMkLst>
        </pc:spChg>
      </pc:sldChg>
      <pc:sldChg chg="del">
        <pc:chgData name="Ella.Tsai (PS) 蔡惠雯" userId="fd3c47ff-f028-40c0-bbec-71f3becde5c4" providerId="ADAL" clId="{7C5C5DF2-AD68-4241-ACEF-768F6CA13160}" dt="2024-09-23T04:02:29.221" v="17" actId="47"/>
        <pc:sldMkLst>
          <pc:docMk/>
          <pc:sldMk cId="635439972" sldId="2146848492"/>
        </pc:sldMkLst>
      </pc:sldChg>
      <pc:sldChg chg="del">
        <pc:chgData name="Ella.Tsai (PS) 蔡惠雯" userId="fd3c47ff-f028-40c0-bbec-71f3becde5c4" providerId="ADAL" clId="{7C5C5DF2-AD68-4241-ACEF-768F6CA13160}" dt="2024-09-23T04:02:33.901" v="18" actId="47"/>
        <pc:sldMkLst>
          <pc:docMk/>
          <pc:sldMk cId="1920251589" sldId="2146848494"/>
        </pc:sldMkLst>
      </pc:sldChg>
      <pc:sldChg chg="del">
        <pc:chgData name="Ella.Tsai (PS) 蔡惠雯" userId="fd3c47ff-f028-40c0-bbec-71f3becde5c4" providerId="ADAL" clId="{7C5C5DF2-AD68-4241-ACEF-768F6CA13160}" dt="2024-09-23T04:03:02.634" v="23" actId="47"/>
        <pc:sldMkLst>
          <pc:docMk/>
          <pc:sldMk cId="4075359967" sldId="2146848495"/>
        </pc:sldMkLst>
      </pc:sldChg>
      <pc:sldChg chg="del">
        <pc:chgData name="Ella.Tsai (PS) 蔡惠雯" userId="fd3c47ff-f028-40c0-bbec-71f3becde5c4" providerId="ADAL" clId="{7C5C5DF2-AD68-4241-ACEF-768F6CA13160}" dt="2024-09-23T04:03:21.180" v="24" actId="47"/>
        <pc:sldMkLst>
          <pc:docMk/>
          <pc:sldMk cId="2209974075" sldId="2146848497"/>
        </pc:sldMkLst>
      </pc:sldChg>
      <pc:sldChg chg="del">
        <pc:chgData name="Ella.Tsai (PS) 蔡惠雯" userId="fd3c47ff-f028-40c0-bbec-71f3becde5c4" providerId="ADAL" clId="{7C5C5DF2-AD68-4241-ACEF-768F6CA13160}" dt="2024-09-23T04:03:23.383" v="25" actId="47"/>
        <pc:sldMkLst>
          <pc:docMk/>
          <pc:sldMk cId="782395049" sldId="2146848498"/>
        </pc:sldMkLst>
      </pc:sldChg>
      <pc:sldChg chg="del">
        <pc:chgData name="Ella.Tsai (PS) 蔡惠雯" userId="fd3c47ff-f028-40c0-bbec-71f3becde5c4" providerId="ADAL" clId="{7C5C5DF2-AD68-4241-ACEF-768F6CA13160}" dt="2024-09-23T04:03:25.839" v="26" actId="47"/>
        <pc:sldMkLst>
          <pc:docMk/>
          <pc:sldMk cId="1209821558" sldId="2146848500"/>
        </pc:sldMkLst>
      </pc:sldChg>
      <pc:sldChg chg="del">
        <pc:chgData name="Ella.Tsai (PS) 蔡惠雯" userId="fd3c47ff-f028-40c0-bbec-71f3becde5c4" providerId="ADAL" clId="{7C5C5DF2-AD68-4241-ACEF-768F6CA13160}" dt="2024-09-23T04:03:27.558" v="27" actId="47"/>
        <pc:sldMkLst>
          <pc:docMk/>
          <pc:sldMk cId="402787466" sldId="2146848501"/>
        </pc:sldMkLst>
      </pc:sldChg>
      <pc:sldChg chg="del">
        <pc:chgData name="Ella.Tsai (PS) 蔡惠雯" userId="fd3c47ff-f028-40c0-bbec-71f3becde5c4" providerId="ADAL" clId="{7C5C5DF2-AD68-4241-ACEF-768F6CA13160}" dt="2024-09-23T04:03:29.172" v="28" actId="47"/>
        <pc:sldMkLst>
          <pc:docMk/>
          <pc:sldMk cId="612937024" sldId="2146848502"/>
        </pc:sldMkLst>
      </pc:sldChg>
      <pc:sldChg chg="del">
        <pc:chgData name="Ella.Tsai (PS) 蔡惠雯" userId="fd3c47ff-f028-40c0-bbec-71f3becde5c4" providerId="ADAL" clId="{7C5C5DF2-AD68-4241-ACEF-768F6CA13160}" dt="2024-09-23T04:03:31.617" v="29" actId="47"/>
        <pc:sldMkLst>
          <pc:docMk/>
          <pc:sldMk cId="3595987929" sldId="2146848503"/>
        </pc:sldMkLst>
      </pc:sldChg>
      <pc:sldChg chg="delSp modSp mod">
        <pc:chgData name="Ella.Tsai (PS) 蔡惠雯" userId="fd3c47ff-f028-40c0-bbec-71f3becde5c4" providerId="ADAL" clId="{7C5C5DF2-AD68-4241-ACEF-768F6CA13160}" dt="2024-09-23T04:01:27.393" v="11" actId="14100"/>
        <pc:sldMkLst>
          <pc:docMk/>
          <pc:sldMk cId="1360977376" sldId="2146848510"/>
        </pc:sldMkLst>
        <pc:spChg chg="del">
          <ac:chgData name="Ella.Tsai (PS) 蔡惠雯" userId="fd3c47ff-f028-40c0-bbec-71f3becde5c4" providerId="ADAL" clId="{7C5C5DF2-AD68-4241-ACEF-768F6CA13160}" dt="2024-09-23T04:00:12.168" v="5" actId="478"/>
          <ac:spMkLst>
            <pc:docMk/>
            <pc:sldMk cId="1360977376" sldId="2146848510"/>
            <ac:spMk id="2" creationId="{A508BEA2-57FD-B436-6C8E-8FCC6F0DC22F}"/>
          </ac:spMkLst>
        </pc:spChg>
        <pc:grpChg chg="mod ord">
          <ac:chgData name="Ella.Tsai (PS) 蔡惠雯" userId="fd3c47ff-f028-40c0-bbec-71f3becde5c4" providerId="ADAL" clId="{7C5C5DF2-AD68-4241-ACEF-768F6CA13160}" dt="2024-09-23T04:01:27.393" v="11" actId="14100"/>
          <ac:grpSpMkLst>
            <pc:docMk/>
            <pc:sldMk cId="1360977376" sldId="2146848510"/>
            <ac:grpSpMk id="18" creationId="{3FF37327-8A7D-22F5-84BE-19BFBCC68A30}"/>
          </ac:grpSpMkLst>
        </pc:grpChg>
      </pc:sldChg>
      <pc:sldChg chg="addSp delSp modSp mod">
        <pc:chgData name="Ella.Tsai (PS) 蔡惠雯" userId="fd3c47ff-f028-40c0-bbec-71f3becde5c4" providerId="ADAL" clId="{7C5C5DF2-AD68-4241-ACEF-768F6CA13160}" dt="2024-09-23T04:02:24.904" v="16"/>
        <pc:sldMkLst>
          <pc:docMk/>
          <pc:sldMk cId="3692807609" sldId="2146848511"/>
        </pc:sldMkLst>
        <pc:spChg chg="del">
          <ac:chgData name="Ella.Tsai (PS) 蔡惠雯" userId="fd3c47ff-f028-40c0-bbec-71f3becde5c4" providerId="ADAL" clId="{7C5C5DF2-AD68-4241-ACEF-768F6CA13160}" dt="2024-09-23T04:02:13.973" v="15" actId="478"/>
          <ac:spMkLst>
            <pc:docMk/>
            <pc:sldMk cId="3692807609" sldId="2146848511"/>
            <ac:spMk id="2" creationId="{9515C671-7BBC-6CD1-F885-964B73299748}"/>
          </ac:spMkLst>
        </pc:spChg>
        <pc:spChg chg="add mod">
          <ac:chgData name="Ella.Tsai (PS) 蔡惠雯" userId="fd3c47ff-f028-40c0-bbec-71f3becde5c4" providerId="ADAL" clId="{7C5C5DF2-AD68-4241-ACEF-768F6CA13160}" dt="2024-09-23T04:02:24.904" v="16"/>
          <ac:spMkLst>
            <pc:docMk/>
            <pc:sldMk cId="3692807609" sldId="2146848511"/>
            <ac:spMk id="4" creationId="{02EA770F-73AF-CD5C-1D97-587FDF65107C}"/>
          </ac:spMkLst>
        </pc:spChg>
        <pc:picChg chg="mod ord">
          <ac:chgData name="Ella.Tsai (PS) 蔡惠雯" userId="fd3c47ff-f028-40c0-bbec-71f3becde5c4" providerId="ADAL" clId="{7C5C5DF2-AD68-4241-ACEF-768F6CA13160}" dt="2024-09-23T04:02:08.290" v="14" actId="167"/>
          <ac:picMkLst>
            <pc:docMk/>
            <pc:sldMk cId="3692807609" sldId="2146848511"/>
            <ac:picMk id="5" creationId="{320B7089-EA1C-AC31-3B3D-01F841E932CD}"/>
          </ac:picMkLst>
        </pc:picChg>
      </pc:sldChg>
      <pc:sldChg chg="modSp mod">
        <pc:chgData name="Ella.Tsai (PS) 蔡惠雯" userId="fd3c47ff-f028-40c0-bbec-71f3becde5c4" providerId="ADAL" clId="{7C5C5DF2-AD68-4241-ACEF-768F6CA13160}" dt="2024-09-23T04:02:56.290" v="22" actId="1076"/>
        <pc:sldMkLst>
          <pc:docMk/>
          <pc:sldMk cId="2123503650" sldId="2146848512"/>
        </pc:sldMkLst>
        <pc:picChg chg="mod ord">
          <ac:chgData name="Ella.Tsai (PS) 蔡惠雯" userId="fd3c47ff-f028-40c0-bbec-71f3becde5c4" providerId="ADAL" clId="{7C5C5DF2-AD68-4241-ACEF-768F6CA13160}" dt="2024-09-23T04:02:56.290" v="22" actId="1076"/>
          <ac:picMkLst>
            <pc:docMk/>
            <pc:sldMk cId="2123503650" sldId="2146848512"/>
            <ac:picMk id="5" creationId="{4CAED1EC-6A8E-4855-394F-E6F0C54EE500}"/>
          </ac:picMkLst>
        </pc:picChg>
      </pc:sldChg>
      <pc:sldChg chg="modSp mod">
        <pc:chgData name="Ella.Tsai (PS) 蔡惠雯" userId="fd3c47ff-f028-40c0-bbec-71f3becde5c4" providerId="ADAL" clId="{7C5C5DF2-AD68-4241-ACEF-768F6CA13160}" dt="2024-09-23T04:18:55.439" v="61" actId="1076"/>
        <pc:sldMkLst>
          <pc:docMk/>
          <pc:sldMk cId="819070259" sldId="2146848518"/>
        </pc:sldMkLst>
        <pc:grpChg chg="mod">
          <ac:chgData name="Ella.Tsai (PS) 蔡惠雯" userId="fd3c47ff-f028-40c0-bbec-71f3becde5c4" providerId="ADAL" clId="{7C5C5DF2-AD68-4241-ACEF-768F6CA13160}" dt="2024-09-23T04:18:55.439" v="61" actId="1076"/>
          <ac:grpSpMkLst>
            <pc:docMk/>
            <pc:sldMk cId="819070259" sldId="2146848518"/>
            <ac:grpSpMk id="9" creationId="{E3627627-0EA5-C3B0-07B5-779C26729F78}"/>
          </ac:grpSpMkLst>
        </pc:grpChg>
      </pc:sldChg>
      <pc:sldChg chg="addSp modSp mod">
        <pc:chgData name="Ella.Tsai (PS) 蔡惠雯" userId="fd3c47ff-f028-40c0-bbec-71f3becde5c4" providerId="ADAL" clId="{7C5C5DF2-AD68-4241-ACEF-768F6CA13160}" dt="2024-09-23T04:18:44.229" v="60" actId="14100"/>
        <pc:sldMkLst>
          <pc:docMk/>
          <pc:sldMk cId="3778839258" sldId="2146848519"/>
        </pc:sldMkLst>
        <pc:picChg chg="add mod">
          <ac:chgData name="Ella.Tsai (PS) 蔡惠雯" userId="fd3c47ff-f028-40c0-bbec-71f3becde5c4" providerId="ADAL" clId="{7C5C5DF2-AD68-4241-ACEF-768F6CA13160}" dt="2024-09-23T04:18:38.789" v="59" actId="14100"/>
          <ac:picMkLst>
            <pc:docMk/>
            <pc:sldMk cId="3778839258" sldId="2146848519"/>
            <ac:picMk id="4" creationId="{94226008-3F60-4D44-9090-2CD652091B69}"/>
          </ac:picMkLst>
        </pc:picChg>
        <pc:picChg chg="mod">
          <ac:chgData name="Ella.Tsai (PS) 蔡惠雯" userId="fd3c47ff-f028-40c0-bbec-71f3becde5c4" providerId="ADAL" clId="{7C5C5DF2-AD68-4241-ACEF-768F6CA13160}" dt="2024-09-23T04:18:44.229" v="60" actId="14100"/>
          <ac:picMkLst>
            <pc:docMk/>
            <pc:sldMk cId="3778839258" sldId="2146848519"/>
            <ac:picMk id="5" creationId="{F8580E8E-E176-9793-6674-84C1219BCA32}"/>
          </ac:picMkLst>
        </pc:picChg>
      </pc:sldChg>
      <pc:sldChg chg="modSp del mod">
        <pc:chgData name="Ella.Tsai (PS) 蔡惠雯" userId="fd3c47ff-f028-40c0-bbec-71f3becde5c4" providerId="ADAL" clId="{7C5C5DF2-AD68-4241-ACEF-768F6CA13160}" dt="2024-09-23T04:16:53.297" v="40" actId="47"/>
        <pc:sldMkLst>
          <pc:docMk/>
          <pc:sldMk cId="289118860" sldId="2146848520"/>
        </pc:sldMkLst>
        <pc:spChg chg="mod">
          <ac:chgData name="Ella.Tsai (PS) 蔡惠雯" userId="fd3c47ff-f028-40c0-bbec-71f3becde5c4" providerId="ADAL" clId="{7C5C5DF2-AD68-4241-ACEF-768F6CA13160}" dt="2024-09-23T04:08:27.019" v="39" actId="20577"/>
          <ac:spMkLst>
            <pc:docMk/>
            <pc:sldMk cId="289118860" sldId="2146848520"/>
            <ac:spMk id="2" creationId="{881524C3-8CAF-3451-2AB4-D53E1A1A46B3}"/>
          </ac:spMkLst>
        </pc:spChg>
      </pc:sldChg>
      <pc:sldChg chg="modSp mod">
        <pc:chgData name="Ella.Tsai (PS) 蔡惠雯" userId="fd3c47ff-f028-40c0-bbec-71f3becde5c4" providerId="ADAL" clId="{7C5C5DF2-AD68-4241-ACEF-768F6CA13160}" dt="2024-09-23T04:17:22.023" v="56" actId="20577"/>
        <pc:sldMkLst>
          <pc:docMk/>
          <pc:sldMk cId="4182907108" sldId="2146848521"/>
        </pc:sldMkLst>
        <pc:spChg chg="mod">
          <ac:chgData name="Ella.Tsai (PS) 蔡惠雯" userId="fd3c47ff-f028-40c0-bbec-71f3becde5c4" providerId="ADAL" clId="{7C5C5DF2-AD68-4241-ACEF-768F6CA13160}" dt="2024-09-23T04:17:22.023" v="56" actId="20577"/>
          <ac:spMkLst>
            <pc:docMk/>
            <pc:sldMk cId="4182907108" sldId="2146848521"/>
            <ac:spMk id="3" creationId="{3C294C1B-08B0-BB26-9A17-ADC25CBB042F}"/>
          </ac:spMkLst>
        </pc:spChg>
      </pc:sldChg>
    </pc:docChg>
  </pc:docChgLst>
  <pc:docChgLst>
    <pc:chgData name="Ella.Tsai (PS) 蔡惠雯" userId="S::ella.tsai@lotuspharm.com::fd3c47ff-f028-40c0-bbec-71f3becde5c4" providerId="AD" clId="Web-{7D25FAEE-3B12-7DE5-CB2F-6FBFD49FC357}"/>
    <pc:docChg chg="addSld modSection">
      <pc:chgData name="Ella.Tsai (PS) 蔡惠雯" userId="S::ella.tsai@lotuspharm.com::fd3c47ff-f028-40c0-bbec-71f3becde5c4" providerId="AD" clId="Web-{7D25FAEE-3B12-7DE5-CB2F-6FBFD49FC357}" dt="2024-09-17T02:09:35.591" v="5"/>
      <pc:docMkLst>
        <pc:docMk/>
      </pc:docMkLst>
      <pc:sldChg chg="add">
        <pc:chgData name="Ella.Tsai (PS) 蔡惠雯" userId="S::ella.tsai@lotuspharm.com::fd3c47ff-f028-40c0-bbec-71f3becde5c4" providerId="AD" clId="Web-{7D25FAEE-3B12-7DE5-CB2F-6FBFD49FC357}" dt="2024-09-17T02:09:35.513" v="0"/>
        <pc:sldMkLst>
          <pc:docMk/>
          <pc:sldMk cId="1999652955" sldId="256"/>
        </pc:sldMkLst>
      </pc:sldChg>
      <pc:sldChg chg="add">
        <pc:chgData name="Ella.Tsai (PS) 蔡惠雯" userId="S::ella.tsai@lotuspharm.com::fd3c47ff-f028-40c0-bbec-71f3becde5c4" providerId="AD" clId="Web-{7D25FAEE-3B12-7DE5-CB2F-6FBFD49FC357}" dt="2024-09-17T02:09:35.528" v="1"/>
        <pc:sldMkLst>
          <pc:docMk/>
          <pc:sldMk cId="2341638711" sldId="262"/>
        </pc:sldMkLst>
      </pc:sldChg>
      <pc:sldChg chg="add">
        <pc:chgData name="Ella.Tsai (PS) 蔡惠雯" userId="S::ella.tsai@lotuspharm.com::fd3c47ff-f028-40c0-bbec-71f3becde5c4" providerId="AD" clId="Web-{7D25FAEE-3B12-7DE5-CB2F-6FBFD49FC357}" dt="2024-09-17T02:09:35.544" v="2"/>
        <pc:sldMkLst>
          <pc:docMk/>
          <pc:sldMk cId="2481039735" sldId="2146848505"/>
        </pc:sldMkLst>
      </pc:sldChg>
      <pc:sldChg chg="add">
        <pc:chgData name="Ella.Tsai (PS) 蔡惠雯" userId="S::ella.tsai@lotuspharm.com::fd3c47ff-f028-40c0-bbec-71f3becde5c4" providerId="AD" clId="Web-{7D25FAEE-3B12-7DE5-CB2F-6FBFD49FC357}" dt="2024-09-17T02:09:35.559" v="3"/>
        <pc:sldMkLst>
          <pc:docMk/>
          <pc:sldMk cId="1300305467" sldId="2146848506"/>
        </pc:sldMkLst>
      </pc:sldChg>
      <pc:sldChg chg="add">
        <pc:chgData name="Ella.Tsai (PS) 蔡惠雯" userId="S::ella.tsai@lotuspharm.com::fd3c47ff-f028-40c0-bbec-71f3becde5c4" providerId="AD" clId="Web-{7D25FAEE-3B12-7DE5-CB2F-6FBFD49FC357}" dt="2024-09-17T02:09:35.575" v="4"/>
        <pc:sldMkLst>
          <pc:docMk/>
          <pc:sldMk cId="2124364911" sldId="2146848507"/>
        </pc:sldMkLst>
      </pc:sldChg>
      <pc:sldChg chg="add">
        <pc:chgData name="Ella.Tsai (PS) 蔡惠雯" userId="S::ella.tsai@lotuspharm.com::fd3c47ff-f028-40c0-bbec-71f3becde5c4" providerId="AD" clId="Web-{7D25FAEE-3B12-7DE5-CB2F-6FBFD49FC357}" dt="2024-09-17T02:09:35.591" v="5"/>
        <pc:sldMkLst>
          <pc:docMk/>
          <pc:sldMk cId="3201455425" sldId="2146848508"/>
        </pc:sldMkLst>
      </pc:sldChg>
      <pc:sldMasterChg chg="addSldLayout">
        <pc:chgData name="Ella.Tsai (PS) 蔡惠雯" userId="S::ella.tsai@lotuspharm.com::fd3c47ff-f028-40c0-bbec-71f3becde5c4" providerId="AD" clId="Web-{7D25FAEE-3B12-7DE5-CB2F-6FBFD49FC357}" dt="2024-09-17T02:09:35.513" v="0"/>
        <pc:sldMasterMkLst>
          <pc:docMk/>
          <pc:sldMasterMk cId="3971860428" sldId="2147483661"/>
        </pc:sldMasterMkLst>
        <pc:sldLayoutChg chg="add">
          <pc:chgData name="Ella.Tsai (PS) 蔡惠雯" userId="S::ella.tsai@lotuspharm.com::fd3c47ff-f028-40c0-bbec-71f3becde5c4" providerId="AD" clId="Web-{7D25FAEE-3B12-7DE5-CB2F-6FBFD49FC357}" dt="2024-09-17T02:09:35.513" v="0"/>
          <pc:sldLayoutMkLst>
            <pc:docMk/>
            <pc:sldMasterMk cId="3971860428" sldId="2147483661"/>
            <pc:sldLayoutMk cId="4264544167" sldId="2147483697"/>
          </pc:sldLayoutMkLst>
        </pc:sldLayoutChg>
      </pc:sldMasterChg>
    </pc:docChg>
  </pc:docChgLst>
  <pc:docChgLst>
    <pc:chgData name="Betty.Chiu (PT) 邱佩晴" userId="S::betty.chiu@lotuspharm.com::9afe3e61-e655-4e22-9ce3-f79327d95c21" providerId="AD" clId="Web-{25ED60F2-E114-0DD9-F8B8-C8A126D85538}"/>
    <pc:docChg chg="modSld">
      <pc:chgData name="Betty.Chiu (PT) 邱佩晴" userId="S::betty.chiu@lotuspharm.com::9afe3e61-e655-4e22-9ce3-f79327d95c21" providerId="AD" clId="Web-{25ED60F2-E114-0DD9-F8B8-C8A126D85538}" dt="2024-10-15T07:42:58.998" v="7" actId="20577"/>
      <pc:docMkLst>
        <pc:docMk/>
      </pc:docMkLst>
      <pc:sldChg chg="modSp">
        <pc:chgData name="Betty.Chiu (PT) 邱佩晴" userId="S::betty.chiu@lotuspharm.com::9afe3e61-e655-4e22-9ce3-f79327d95c21" providerId="AD" clId="Web-{25ED60F2-E114-0DD9-F8B8-C8A126D85538}" dt="2024-10-15T07:42:58.998" v="7" actId="20577"/>
        <pc:sldMkLst>
          <pc:docMk/>
          <pc:sldMk cId="2096545657" sldId="2147482623"/>
        </pc:sldMkLst>
        <pc:spChg chg="mod">
          <ac:chgData name="Betty.Chiu (PT) 邱佩晴" userId="S::betty.chiu@lotuspharm.com::9afe3e61-e655-4e22-9ce3-f79327d95c21" providerId="AD" clId="Web-{25ED60F2-E114-0DD9-F8B8-C8A126D85538}" dt="2024-10-15T07:42:58.998" v="7" actId="20577"/>
          <ac:spMkLst>
            <pc:docMk/>
            <pc:sldMk cId="2096545657" sldId="2147482623"/>
            <ac:spMk id="14" creationId="{92E40915-3A6D-B9A7-44EF-B7700B434189}"/>
          </ac:spMkLst>
        </pc:spChg>
      </pc:sldChg>
    </pc:docChg>
  </pc:docChgLst>
  <pc:docChgLst>
    <pc:chgData name="Rebecca Liu 劉依茹" userId="28e4d197-e403-4e73-946f-379830aa94f1" providerId="ADAL" clId="{FA982C32-90E6-49A0-B1C8-E534252F3BB7}"/>
    <pc:docChg chg="undo custSel addSld delSld modSld sldOrd modSection">
      <pc:chgData name="Rebecca Liu 劉依茹" userId="28e4d197-e403-4e73-946f-379830aa94f1" providerId="ADAL" clId="{FA982C32-90E6-49A0-B1C8-E534252F3BB7}" dt="2024-10-16T08:14:26.404" v="2289" actId="47"/>
      <pc:docMkLst>
        <pc:docMk/>
      </pc:docMkLst>
      <pc:sldChg chg="addSp modSp add mod modClrScheme chgLayout">
        <pc:chgData name="Rebecca Liu 劉依茹" userId="28e4d197-e403-4e73-946f-379830aa94f1" providerId="ADAL" clId="{FA982C32-90E6-49A0-B1C8-E534252F3BB7}" dt="2024-10-16T05:33:28.557" v="2013" actId="20577"/>
        <pc:sldMkLst>
          <pc:docMk/>
          <pc:sldMk cId="3940154332" sldId="306"/>
        </pc:sldMkLst>
        <pc:spChg chg="mod ord">
          <ac:chgData name="Rebecca Liu 劉依茹" userId="28e4d197-e403-4e73-946f-379830aa94f1" providerId="ADAL" clId="{FA982C32-90E6-49A0-B1C8-E534252F3BB7}" dt="2024-10-16T05:33:21.055" v="2003" actId="20577"/>
          <ac:spMkLst>
            <pc:docMk/>
            <pc:sldMk cId="3940154332" sldId="306"/>
            <ac:spMk id="3" creationId="{A469A625-61D9-4202-9B26-240ED16A398D}"/>
          </ac:spMkLst>
        </pc:spChg>
        <pc:spChg chg="add mod ord">
          <ac:chgData name="Rebecca Liu 劉依茹" userId="28e4d197-e403-4e73-946f-379830aa94f1" providerId="ADAL" clId="{FA982C32-90E6-49A0-B1C8-E534252F3BB7}" dt="2024-10-16T05:33:28.557" v="2013" actId="20577"/>
          <ac:spMkLst>
            <pc:docMk/>
            <pc:sldMk cId="3940154332" sldId="306"/>
            <ac:spMk id="4" creationId="{B9D55BD9-C01D-DB11-7A1A-9854BB3DE8C0}"/>
          </ac:spMkLst>
        </pc:spChg>
      </pc:sldChg>
      <pc:sldChg chg="add del">
        <pc:chgData name="Rebecca Liu 劉依茹" userId="28e4d197-e403-4e73-946f-379830aa94f1" providerId="ADAL" clId="{FA982C32-90E6-49A0-B1C8-E534252F3BB7}" dt="2024-10-15T03:20:52.620" v="1124" actId="47"/>
        <pc:sldMkLst>
          <pc:docMk/>
          <pc:sldMk cId="801405128" sldId="7481"/>
        </pc:sldMkLst>
      </pc:sldChg>
      <pc:sldChg chg="add del">
        <pc:chgData name="Rebecca Liu 劉依茹" userId="28e4d197-e403-4e73-946f-379830aa94f1" providerId="ADAL" clId="{FA982C32-90E6-49A0-B1C8-E534252F3BB7}" dt="2024-10-15T03:20:52.620" v="1124" actId="47"/>
        <pc:sldMkLst>
          <pc:docMk/>
          <pc:sldMk cId="978174502" sldId="7535"/>
        </pc:sldMkLst>
      </pc:sldChg>
      <pc:sldChg chg="ord modNotesTx">
        <pc:chgData name="Rebecca Liu 劉依茹" userId="28e4d197-e403-4e73-946f-379830aa94f1" providerId="ADAL" clId="{FA982C32-90E6-49A0-B1C8-E534252F3BB7}" dt="2024-10-16T04:00:14.724" v="1959"/>
        <pc:sldMkLst>
          <pc:docMk/>
          <pc:sldMk cId="1520278281" sldId="2007577785"/>
        </pc:sldMkLst>
      </pc:sldChg>
      <pc:sldChg chg="modSp add del mod">
        <pc:chgData name="Rebecca Liu 劉依茹" userId="28e4d197-e403-4e73-946f-379830aa94f1" providerId="ADAL" clId="{FA982C32-90E6-49A0-B1C8-E534252F3BB7}" dt="2024-10-16T06:17:37.462" v="2242" actId="47"/>
        <pc:sldMkLst>
          <pc:docMk/>
          <pc:sldMk cId="3431765270" sldId="2145706845"/>
        </pc:sldMkLst>
        <pc:spChg chg="mod">
          <ac:chgData name="Rebecca Liu 劉依茹" userId="28e4d197-e403-4e73-946f-379830aa94f1" providerId="ADAL" clId="{FA982C32-90E6-49A0-B1C8-E534252F3BB7}" dt="2024-10-11T01:21:13.704" v="229" actId="20577"/>
          <ac:spMkLst>
            <pc:docMk/>
            <pc:sldMk cId="3431765270" sldId="2145706845"/>
            <ac:spMk id="9" creationId="{3AF72D1D-D611-176B-A938-AEF0D553EB24}"/>
          </ac:spMkLst>
        </pc:spChg>
        <pc:spChg chg="mod">
          <ac:chgData name="Rebecca Liu 劉依茹" userId="28e4d197-e403-4e73-946f-379830aa94f1" providerId="ADAL" clId="{FA982C32-90E6-49A0-B1C8-E534252F3BB7}" dt="2024-10-11T01:21:35.659" v="232" actId="113"/>
          <ac:spMkLst>
            <pc:docMk/>
            <pc:sldMk cId="3431765270" sldId="2145706845"/>
            <ac:spMk id="36" creationId="{EEB2BD7F-783B-E67C-F2D9-AF5A75B2D8F9}"/>
          </ac:spMkLst>
        </pc:spChg>
      </pc:sldChg>
      <pc:sldChg chg="modSp add del mod">
        <pc:chgData name="Rebecca Liu 劉依茹" userId="28e4d197-e403-4e73-946f-379830aa94f1" providerId="ADAL" clId="{FA982C32-90E6-49A0-B1C8-E534252F3BB7}" dt="2024-10-16T06:17:37.462" v="2242" actId="47"/>
        <pc:sldMkLst>
          <pc:docMk/>
          <pc:sldMk cId="458915441" sldId="2145706854"/>
        </pc:sldMkLst>
        <pc:spChg chg="mod">
          <ac:chgData name="Rebecca Liu 劉依茹" userId="28e4d197-e403-4e73-946f-379830aa94f1" providerId="ADAL" clId="{FA982C32-90E6-49A0-B1C8-E534252F3BB7}" dt="2024-10-11T01:43:57.213" v="295" actId="20577"/>
          <ac:spMkLst>
            <pc:docMk/>
            <pc:sldMk cId="458915441" sldId="2145706854"/>
            <ac:spMk id="2" creationId="{0E5097AE-88D1-DE16-5A44-6E709137F61F}"/>
          </ac:spMkLst>
        </pc:spChg>
        <pc:spChg chg="mod">
          <ac:chgData name="Rebecca Liu 劉依茹" userId="28e4d197-e403-4e73-946f-379830aa94f1" providerId="ADAL" clId="{FA982C32-90E6-49A0-B1C8-E534252F3BB7}" dt="2024-10-11T01:45:08.092" v="318"/>
          <ac:spMkLst>
            <pc:docMk/>
            <pc:sldMk cId="458915441" sldId="2145706854"/>
            <ac:spMk id="4" creationId="{1B3853E8-ACD8-DF1A-55BB-8B97F009EC94}"/>
          </ac:spMkLst>
        </pc:spChg>
      </pc:sldChg>
      <pc:sldChg chg="add">
        <pc:chgData name="Rebecca Liu 劉依茹" userId="28e4d197-e403-4e73-946f-379830aa94f1" providerId="ADAL" clId="{FA982C32-90E6-49A0-B1C8-E534252F3BB7}" dt="2024-10-16T05:32:36.295" v="1964"/>
        <pc:sldMkLst>
          <pc:docMk/>
          <pc:sldMk cId="1570950976" sldId="2146847858"/>
        </pc:sldMkLst>
      </pc:sldChg>
      <pc:sldChg chg="add del">
        <pc:chgData name="Rebecca Liu 劉依茹" userId="28e4d197-e403-4e73-946f-379830aa94f1" providerId="ADAL" clId="{FA982C32-90E6-49A0-B1C8-E534252F3BB7}" dt="2024-10-15T03:20:52.620" v="1124" actId="47"/>
        <pc:sldMkLst>
          <pc:docMk/>
          <pc:sldMk cId="1115394266" sldId="2146848122"/>
        </pc:sldMkLst>
      </pc:sldChg>
      <pc:sldChg chg="modSp add mod modNotesTx">
        <pc:chgData name="Rebecca Liu 劉依茹" userId="28e4d197-e403-4e73-946f-379830aa94f1" providerId="ADAL" clId="{FA982C32-90E6-49A0-B1C8-E534252F3BB7}" dt="2024-10-16T03:36:46.625" v="1738"/>
        <pc:sldMkLst>
          <pc:docMk/>
          <pc:sldMk cId="1141771728" sldId="2146848267"/>
        </pc:sldMkLst>
        <pc:spChg chg="mod">
          <ac:chgData name="Rebecca Liu 劉依茹" userId="28e4d197-e403-4e73-946f-379830aa94f1" providerId="ADAL" clId="{FA982C32-90E6-49A0-B1C8-E534252F3BB7}" dt="2024-10-15T03:19:27.216" v="1120" actId="20577"/>
          <ac:spMkLst>
            <pc:docMk/>
            <pc:sldMk cId="1141771728" sldId="2146848267"/>
            <ac:spMk id="2" creationId="{F03365CA-520B-442D-95FE-38AF582642FE}"/>
          </ac:spMkLst>
        </pc:spChg>
      </pc:sldChg>
      <pc:sldChg chg="add del">
        <pc:chgData name="Rebecca Liu 劉依茹" userId="28e4d197-e403-4e73-946f-379830aa94f1" providerId="ADAL" clId="{FA982C32-90E6-49A0-B1C8-E534252F3BB7}" dt="2024-10-15T03:20:52.620" v="1124" actId="47"/>
        <pc:sldMkLst>
          <pc:docMk/>
          <pc:sldMk cId="157843351" sldId="2146848269"/>
        </pc:sldMkLst>
      </pc:sldChg>
      <pc:sldChg chg="add del">
        <pc:chgData name="Rebecca Liu 劉依茹" userId="28e4d197-e403-4e73-946f-379830aa94f1" providerId="ADAL" clId="{FA982C32-90E6-49A0-B1C8-E534252F3BB7}" dt="2024-10-15T03:20:52.620" v="1124" actId="47"/>
        <pc:sldMkLst>
          <pc:docMk/>
          <pc:sldMk cId="1551444726" sldId="2146848274"/>
        </pc:sldMkLst>
      </pc:sldChg>
      <pc:sldChg chg="add del">
        <pc:chgData name="Rebecca Liu 劉依茹" userId="28e4d197-e403-4e73-946f-379830aa94f1" providerId="ADAL" clId="{FA982C32-90E6-49A0-B1C8-E534252F3BB7}" dt="2024-10-15T03:20:52.620" v="1124" actId="47"/>
        <pc:sldMkLst>
          <pc:docMk/>
          <pc:sldMk cId="57130559" sldId="2146848275"/>
        </pc:sldMkLst>
      </pc:sldChg>
      <pc:sldChg chg="modSp mod modNotesTx">
        <pc:chgData name="Rebecca Liu 劉依茹" userId="28e4d197-e403-4e73-946f-379830aa94f1" providerId="ADAL" clId="{FA982C32-90E6-49A0-B1C8-E534252F3BB7}" dt="2024-10-16T03:33:56.200" v="1729"/>
        <pc:sldMkLst>
          <pc:docMk/>
          <pc:sldMk cId="3081708709" sldId="2146848417"/>
        </pc:sldMkLst>
        <pc:spChg chg="mod">
          <ac:chgData name="Rebecca Liu 劉依茹" userId="28e4d197-e403-4e73-946f-379830aa94f1" providerId="ADAL" clId="{FA982C32-90E6-49A0-B1C8-E534252F3BB7}" dt="2024-10-15T00:21:39.625" v="434" actId="20577"/>
          <ac:spMkLst>
            <pc:docMk/>
            <pc:sldMk cId="3081708709" sldId="2146848417"/>
            <ac:spMk id="2" creationId="{752F02AC-D1DE-41A0-FF72-9AAE09DB656B}"/>
          </ac:spMkLst>
        </pc:spChg>
        <pc:spChg chg="mod">
          <ac:chgData name="Rebecca Liu 劉依茹" userId="28e4d197-e403-4e73-946f-379830aa94f1" providerId="ADAL" clId="{FA982C32-90E6-49A0-B1C8-E534252F3BB7}" dt="2024-10-15T00:20:50.681" v="369" actId="20577"/>
          <ac:spMkLst>
            <pc:docMk/>
            <pc:sldMk cId="3081708709" sldId="2146848417"/>
            <ac:spMk id="3" creationId="{D4E5B847-002C-11A6-29F1-D3289766DD06}"/>
          </ac:spMkLst>
        </pc:spChg>
      </pc:sldChg>
      <pc:sldChg chg="modSp mod modNotesTx">
        <pc:chgData name="Rebecca Liu 劉依茹" userId="28e4d197-e403-4e73-946f-379830aa94f1" providerId="ADAL" clId="{FA982C32-90E6-49A0-B1C8-E534252F3BB7}" dt="2024-10-16T06:17:26.447" v="2241" actId="20577"/>
        <pc:sldMkLst>
          <pc:docMk/>
          <pc:sldMk cId="1349055783" sldId="2146848485"/>
        </pc:sldMkLst>
        <pc:spChg chg="mod">
          <ac:chgData name="Rebecca Liu 劉依茹" userId="28e4d197-e403-4e73-946f-379830aa94f1" providerId="ADAL" clId="{FA982C32-90E6-49A0-B1C8-E534252F3BB7}" dt="2024-10-16T06:17:13.803" v="2238" actId="27636"/>
          <ac:spMkLst>
            <pc:docMk/>
            <pc:sldMk cId="1349055783" sldId="2146848485"/>
            <ac:spMk id="8" creationId="{0CC0BC93-FAE7-3F66-DB1F-AB053AE3CBA5}"/>
          </ac:spMkLst>
        </pc:spChg>
        <pc:picChg chg="mod">
          <ac:chgData name="Rebecca Liu 劉依茹" userId="28e4d197-e403-4e73-946f-379830aa94f1" providerId="ADAL" clId="{FA982C32-90E6-49A0-B1C8-E534252F3BB7}" dt="2024-10-16T05:39:34.879" v="2126" actId="1036"/>
          <ac:picMkLst>
            <pc:docMk/>
            <pc:sldMk cId="1349055783" sldId="2146848485"/>
            <ac:picMk id="2" creationId="{26CAC6B6-2990-5D68-53E5-597055437463}"/>
          </ac:picMkLst>
        </pc:picChg>
      </pc:sldChg>
      <pc:sldChg chg="addSp delSp modSp add mod modNotesTx">
        <pc:chgData name="Rebecca Liu 劉依茹" userId="28e4d197-e403-4e73-946f-379830aa94f1" providerId="ADAL" clId="{FA982C32-90E6-49A0-B1C8-E534252F3BB7}" dt="2024-10-16T03:42:47.365" v="1885"/>
        <pc:sldMkLst>
          <pc:docMk/>
          <pc:sldMk cId="4075359967" sldId="2146848495"/>
        </pc:sldMkLst>
        <pc:spChg chg="mod">
          <ac:chgData name="Rebecca Liu 劉依茹" userId="28e4d197-e403-4e73-946f-379830aa94f1" providerId="ADAL" clId="{FA982C32-90E6-49A0-B1C8-E534252F3BB7}" dt="2024-10-15T04:15:53.498" v="1204" actId="20577"/>
          <ac:spMkLst>
            <pc:docMk/>
            <pc:sldMk cId="4075359967" sldId="2146848495"/>
            <ac:spMk id="2" creationId="{E250A744-15C2-5BCD-2AF3-19E1D24DB081}"/>
          </ac:spMkLst>
        </pc:spChg>
        <pc:spChg chg="mod">
          <ac:chgData name="Rebecca Liu 劉依茹" userId="28e4d197-e403-4e73-946f-379830aa94f1" providerId="ADAL" clId="{FA982C32-90E6-49A0-B1C8-E534252F3BB7}" dt="2024-10-15T05:15:37.271" v="1667" actId="1076"/>
          <ac:spMkLst>
            <pc:docMk/>
            <pc:sldMk cId="4075359967" sldId="2146848495"/>
            <ac:spMk id="4" creationId="{C298B3DB-E101-18A9-66F7-CAF9198FB8A3}"/>
          </ac:spMkLst>
        </pc:spChg>
        <pc:spChg chg="add mod">
          <ac:chgData name="Rebecca Liu 劉依茹" userId="28e4d197-e403-4e73-946f-379830aa94f1" providerId="ADAL" clId="{FA982C32-90E6-49A0-B1C8-E534252F3BB7}" dt="2024-10-15T02:37:51.088" v="500" actId="207"/>
          <ac:spMkLst>
            <pc:docMk/>
            <pc:sldMk cId="4075359967" sldId="2146848495"/>
            <ac:spMk id="5" creationId="{D236874F-7AF1-20E7-1C6D-3D64BA68021A}"/>
          </ac:spMkLst>
        </pc:spChg>
        <pc:spChg chg="add mod">
          <ac:chgData name="Rebecca Liu 劉依茹" userId="28e4d197-e403-4e73-946f-379830aa94f1" providerId="ADAL" clId="{FA982C32-90E6-49A0-B1C8-E534252F3BB7}" dt="2024-10-15T02:37:28.024" v="496" actId="208"/>
          <ac:spMkLst>
            <pc:docMk/>
            <pc:sldMk cId="4075359967" sldId="2146848495"/>
            <ac:spMk id="6" creationId="{AEC716F6-3957-E210-98C2-54E9A1FB6212}"/>
          </ac:spMkLst>
        </pc:spChg>
        <pc:spChg chg="del">
          <ac:chgData name="Rebecca Liu 劉依茹" userId="28e4d197-e403-4e73-946f-379830aa94f1" providerId="ADAL" clId="{FA982C32-90E6-49A0-B1C8-E534252F3BB7}" dt="2024-10-15T02:36:26.740" v="487" actId="478"/>
          <ac:spMkLst>
            <pc:docMk/>
            <pc:sldMk cId="4075359967" sldId="2146848495"/>
            <ac:spMk id="15" creationId="{6A39762C-DA6A-67BD-387A-41252AD94805}"/>
          </ac:spMkLst>
        </pc:spChg>
        <pc:spChg chg="del">
          <ac:chgData name="Rebecca Liu 劉依茹" userId="28e4d197-e403-4e73-946f-379830aa94f1" providerId="ADAL" clId="{FA982C32-90E6-49A0-B1C8-E534252F3BB7}" dt="2024-10-15T02:37:04.619" v="492" actId="478"/>
          <ac:spMkLst>
            <pc:docMk/>
            <pc:sldMk cId="4075359967" sldId="2146848495"/>
            <ac:spMk id="16" creationId="{A03168AB-A6B6-EC60-1BA0-9C05E9B8B275}"/>
          </ac:spMkLst>
        </pc:spChg>
        <pc:graphicFrameChg chg="mod">
          <ac:chgData name="Rebecca Liu 劉依茹" userId="28e4d197-e403-4e73-946f-379830aa94f1" providerId="ADAL" clId="{FA982C32-90E6-49A0-B1C8-E534252F3BB7}" dt="2024-10-15T02:39:23.749" v="590" actId="20577"/>
          <ac:graphicFrameMkLst>
            <pc:docMk/>
            <pc:sldMk cId="4075359967" sldId="2146848495"/>
            <ac:graphicFrameMk id="9" creationId="{98FFE9FC-6F30-87DA-2B29-F1B1424B465A}"/>
          </ac:graphicFrameMkLst>
        </pc:graphicFrameChg>
        <pc:picChg chg="mod">
          <ac:chgData name="Rebecca Liu 劉依茹" userId="28e4d197-e403-4e73-946f-379830aa94f1" providerId="ADAL" clId="{FA982C32-90E6-49A0-B1C8-E534252F3BB7}" dt="2024-10-15T02:36:54.441" v="491" actId="14100"/>
          <ac:picMkLst>
            <pc:docMk/>
            <pc:sldMk cId="4075359967" sldId="2146848495"/>
            <ac:picMk id="12" creationId="{2343F033-9FE8-B3EA-FD41-DC6FFAC2FFE6}"/>
          </ac:picMkLst>
        </pc:picChg>
      </pc:sldChg>
      <pc:sldChg chg="ord">
        <pc:chgData name="Rebecca Liu 劉依茹" userId="28e4d197-e403-4e73-946f-379830aa94f1" providerId="ADAL" clId="{FA982C32-90E6-49A0-B1C8-E534252F3BB7}" dt="2024-10-15T23:29:42.864" v="1688"/>
        <pc:sldMkLst>
          <pc:docMk/>
          <pc:sldMk cId="3545985125" sldId="2146848504"/>
        </pc:sldMkLst>
      </pc:sldChg>
      <pc:sldChg chg="ord">
        <pc:chgData name="Rebecca Liu 劉依茹" userId="28e4d197-e403-4e73-946f-379830aa94f1" providerId="ADAL" clId="{FA982C32-90E6-49A0-B1C8-E534252F3BB7}" dt="2024-10-15T23:29:42.864" v="1688"/>
        <pc:sldMkLst>
          <pc:docMk/>
          <pc:sldMk cId="2481039735" sldId="2146848505"/>
        </pc:sldMkLst>
      </pc:sldChg>
      <pc:sldChg chg="ord">
        <pc:chgData name="Rebecca Liu 劉依茹" userId="28e4d197-e403-4e73-946f-379830aa94f1" providerId="ADAL" clId="{FA982C32-90E6-49A0-B1C8-E534252F3BB7}" dt="2024-10-15T23:29:42.864" v="1688"/>
        <pc:sldMkLst>
          <pc:docMk/>
          <pc:sldMk cId="1300305467" sldId="2146848506"/>
        </pc:sldMkLst>
      </pc:sldChg>
      <pc:sldChg chg="ord">
        <pc:chgData name="Rebecca Liu 劉依茹" userId="28e4d197-e403-4e73-946f-379830aa94f1" providerId="ADAL" clId="{FA982C32-90E6-49A0-B1C8-E534252F3BB7}" dt="2024-10-15T23:29:42.864" v="1688"/>
        <pc:sldMkLst>
          <pc:docMk/>
          <pc:sldMk cId="2124364911" sldId="2146848507"/>
        </pc:sldMkLst>
      </pc:sldChg>
      <pc:sldChg chg="ord">
        <pc:chgData name="Rebecca Liu 劉依茹" userId="28e4d197-e403-4e73-946f-379830aa94f1" providerId="ADAL" clId="{FA982C32-90E6-49A0-B1C8-E534252F3BB7}" dt="2024-10-15T23:29:42.864" v="1688"/>
        <pc:sldMkLst>
          <pc:docMk/>
          <pc:sldMk cId="3201455425" sldId="2146848508"/>
        </pc:sldMkLst>
      </pc:sldChg>
      <pc:sldChg chg="ord modNotesTx">
        <pc:chgData name="Rebecca Liu 劉依茹" userId="28e4d197-e403-4e73-946f-379830aa94f1" providerId="ADAL" clId="{FA982C32-90E6-49A0-B1C8-E534252F3BB7}" dt="2024-10-16T03:59:59.793" v="1958" actId="20577"/>
        <pc:sldMkLst>
          <pc:docMk/>
          <pc:sldMk cId="3541738884" sldId="2146848509"/>
        </pc:sldMkLst>
      </pc:sldChg>
      <pc:sldChg chg="delSp modSp mod modNotesTx">
        <pc:chgData name="Rebecca Liu 劉依茹" userId="28e4d197-e403-4e73-946f-379830aa94f1" providerId="ADAL" clId="{FA982C32-90E6-49A0-B1C8-E534252F3BB7}" dt="2024-10-16T04:11:18.979" v="1963" actId="1076"/>
        <pc:sldMkLst>
          <pc:docMk/>
          <pc:sldMk cId="1360977376" sldId="2146848510"/>
        </pc:sldMkLst>
        <pc:spChg chg="mod">
          <ac:chgData name="Rebecca Liu 劉依茹" userId="28e4d197-e403-4e73-946f-379830aa94f1" providerId="ADAL" clId="{FA982C32-90E6-49A0-B1C8-E534252F3BB7}" dt="2024-10-16T04:11:14.187" v="1962" actId="1076"/>
          <ac:spMkLst>
            <pc:docMk/>
            <pc:sldMk cId="1360977376" sldId="2146848510"/>
            <ac:spMk id="13" creationId="{24EABA7B-9F06-4CDB-B9E6-B92E78F3AE95}"/>
          </ac:spMkLst>
        </pc:spChg>
        <pc:spChg chg="mod">
          <ac:chgData name="Rebecca Liu 劉依茹" userId="28e4d197-e403-4e73-946f-379830aa94f1" providerId="ADAL" clId="{FA982C32-90E6-49A0-B1C8-E534252F3BB7}" dt="2024-10-16T04:11:18.979" v="1963" actId="1076"/>
          <ac:spMkLst>
            <pc:docMk/>
            <pc:sldMk cId="1360977376" sldId="2146848510"/>
            <ac:spMk id="14" creationId="{41D84DEC-4CD4-66D5-E1FA-E075751C90E9}"/>
          </ac:spMkLst>
        </pc:spChg>
        <pc:spChg chg="del">
          <ac:chgData name="Rebecca Liu 劉依茹" userId="28e4d197-e403-4e73-946f-379830aa94f1" providerId="ADAL" clId="{FA982C32-90E6-49A0-B1C8-E534252F3BB7}" dt="2024-10-16T03:41:52.083" v="1846" actId="478"/>
          <ac:spMkLst>
            <pc:docMk/>
            <pc:sldMk cId="1360977376" sldId="2146848510"/>
            <ac:spMk id="19" creationId="{EB523164-A68D-F98F-EEC0-50CD3AC3A453}"/>
          </ac:spMkLst>
        </pc:spChg>
        <pc:grpChg chg="mod">
          <ac:chgData name="Rebecca Liu 劉依茹" userId="28e4d197-e403-4e73-946f-379830aa94f1" providerId="ADAL" clId="{FA982C32-90E6-49A0-B1C8-E534252F3BB7}" dt="2024-10-16T03:41:58.325" v="1881" actId="1035"/>
          <ac:grpSpMkLst>
            <pc:docMk/>
            <pc:sldMk cId="1360977376" sldId="2146848510"/>
            <ac:grpSpMk id="18" creationId="{3FF37327-8A7D-22F5-84BE-19BFBCC68A30}"/>
          </ac:grpSpMkLst>
        </pc:grpChg>
        <pc:picChg chg="mod">
          <ac:chgData name="Rebecca Liu 劉依茹" userId="28e4d197-e403-4e73-946f-379830aa94f1" providerId="ADAL" clId="{FA982C32-90E6-49A0-B1C8-E534252F3BB7}" dt="2024-10-16T04:11:08.406" v="1961" actId="1076"/>
          <ac:picMkLst>
            <pc:docMk/>
            <pc:sldMk cId="1360977376" sldId="2146848510"/>
            <ac:picMk id="5" creationId="{215C1DE5-43C7-731A-1DE9-853F583B4F53}"/>
          </ac:picMkLst>
        </pc:picChg>
      </pc:sldChg>
      <pc:sldChg chg="modSp del mod ord modNotesTx">
        <pc:chgData name="Rebecca Liu 劉依茹" userId="28e4d197-e403-4e73-946f-379830aa94f1" providerId="ADAL" clId="{FA982C32-90E6-49A0-B1C8-E534252F3BB7}" dt="2024-10-16T08:14:26.239" v="2288" actId="47"/>
        <pc:sldMkLst>
          <pc:docMk/>
          <pc:sldMk cId="3692807609" sldId="2146848511"/>
        </pc:sldMkLst>
        <pc:spChg chg="mod">
          <ac:chgData name="Rebecca Liu 劉依茹" userId="28e4d197-e403-4e73-946f-379830aa94f1" providerId="ADAL" clId="{FA982C32-90E6-49A0-B1C8-E534252F3BB7}" dt="2024-10-15T00:25:23.131" v="463" actId="1076"/>
          <ac:spMkLst>
            <pc:docMk/>
            <pc:sldMk cId="3692807609" sldId="2146848511"/>
            <ac:spMk id="4" creationId="{02EA770F-73AF-CD5C-1D97-587FDF65107C}"/>
          </ac:spMkLst>
        </pc:spChg>
        <pc:picChg chg="mod">
          <ac:chgData name="Rebecca Liu 劉依茹" userId="28e4d197-e403-4e73-946f-379830aa94f1" providerId="ADAL" clId="{FA982C32-90E6-49A0-B1C8-E534252F3BB7}" dt="2024-10-15T00:25:12.887" v="461" actId="14100"/>
          <ac:picMkLst>
            <pc:docMk/>
            <pc:sldMk cId="3692807609" sldId="2146848511"/>
            <ac:picMk id="5" creationId="{320B7089-EA1C-AC31-3B3D-01F841E932CD}"/>
          </ac:picMkLst>
        </pc:picChg>
      </pc:sldChg>
      <pc:sldChg chg="addSp delSp modSp del mod ord modNotesTx">
        <pc:chgData name="Rebecca Liu 劉依茹" userId="28e4d197-e403-4e73-946f-379830aa94f1" providerId="ADAL" clId="{FA982C32-90E6-49A0-B1C8-E534252F3BB7}" dt="2024-10-16T08:14:26.404" v="2289" actId="47"/>
        <pc:sldMkLst>
          <pc:docMk/>
          <pc:sldMk cId="2123503650" sldId="2146848512"/>
        </pc:sldMkLst>
        <pc:spChg chg="del mod">
          <ac:chgData name="Rebecca Liu 劉依茹" userId="28e4d197-e403-4e73-946f-379830aa94f1" providerId="ADAL" clId="{FA982C32-90E6-49A0-B1C8-E534252F3BB7}" dt="2024-10-16T00:10:47.797" v="1726" actId="478"/>
          <ac:spMkLst>
            <pc:docMk/>
            <pc:sldMk cId="2123503650" sldId="2146848512"/>
            <ac:spMk id="6" creationId="{D1342A05-D2CD-313C-B832-E1ECF6D8048F}"/>
          </ac:spMkLst>
        </pc:spChg>
        <pc:picChg chg="add mod modCrop">
          <ac:chgData name="Rebecca Liu 劉依茹" userId="28e4d197-e403-4e73-946f-379830aa94f1" providerId="ADAL" clId="{FA982C32-90E6-49A0-B1C8-E534252F3BB7}" dt="2024-10-16T03:40:52.246" v="1758" actId="1076"/>
          <ac:picMkLst>
            <pc:docMk/>
            <pc:sldMk cId="2123503650" sldId="2146848512"/>
            <ac:picMk id="2" creationId="{00B0EBE5-10D2-0C7D-13C7-301A3B03B886}"/>
          </ac:picMkLst>
        </pc:picChg>
        <pc:picChg chg="mod modCrop">
          <ac:chgData name="Rebecca Liu 劉依茹" userId="28e4d197-e403-4e73-946f-379830aa94f1" providerId="ADAL" clId="{FA982C32-90E6-49A0-B1C8-E534252F3BB7}" dt="2024-10-16T03:41:07.398" v="1760" actId="1076"/>
          <ac:picMkLst>
            <pc:docMk/>
            <pc:sldMk cId="2123503650" sldId="2146848512"/>
            <ac:picMk id="5" creationId="{4CAED1EC-6A8E-4855-394F-E6F0C54EE500}"/>
          </ac:picMkLst>
        </pc:picChg>
      </pc:sldChg>
      <pc:sldChg chg="addSp delSp modSp mod modNotesTx">
        <pc:chgData name="Rebecca Liu 劉依茹" userId="28e4d197-e403-4e73-946f-379830aa94f1" providerId="ADAL" clId="{FA982C32-90E6-49A0-B1C8-E534252F3BB7}" dt="2024-10-16T03:42:23.730" v="1883"/>
        <pc:sldMkLst>
          <pc:docMk/>
          <pc:sldMk cId="3376911728" sldId="2146848513"/>
        </pc:sldMkLst>
        <pc:spChg chg="add del mod">
          <ac:chgData name="Rebecca Liu 劉依茹" userId="28e4d197-e403-4e73-946f-379830aa94f1" providerId="ADAL" clId="{FA982C32-90E6-49A0-B1C8-E534252F3BB7}" dt="2024-10-15T02:41:09.705" v="666" actId="478"/>
          <ac:spMkLst>
            <pc:docMk/>
            <pc:sldMk cId="3376911728" sldId="2146848513"/>
            <ac:spMk id="2" creationId="{F11E1609-A8AC-9A52-2AC1-979F7526017A}"/>
          </ac:spMkLst>
        </pc:spChg>
        <pc:spChg chg="mod">
          <ac:chgData name="Rebecca Liu 劉依茹" userId="28e4d197-e403-4e73-946f-379830aa94f1" providerId="ADAL" clId="{FA982C32-90E6-49A0-B1C8-E534252F3BB7}" dt="2024-10-15T02:42:04.745" v="713" actId="1035"/>
          <ac:spMkLst>
            <pc:docMk/>
            <pc:sldMk cId="3376911728" sldId="2146848513"/>
            <ac:spMk id="10" creationId="{D3CB5738-5F23-3797-1095-8C7AC618D945}"/>
          </ac:spMkLst>
        </pc:spChg>
        <pc:picChg chg="add mod modCrop">
          <ac:chgData name="Rebecca Liu 劉依茹" userId="28e4d197-e403-4e73-946f-379830aa94f1" providerId="ADAL" clId="{FA982C32-90E6-49A0-B1C8-E534252F3BB7}" dt="2024-10-15T02:42:11.213" v="714" actId="1076"/>
          <ac:picMkLst>
            <pc:docMk/>
            <pc:sldMk cId="3376911728" sldId="2146848513"/>
            <ac:picMk id="4" creationId="{B0EA33DC-27ED-E0B3-398A-29A03D06C27E}"/>
          </ac:picMkLst>
        </pc:picChg>
        <pc:picChg chg="mod">
          <ac:chgData name="Rebecca Liu 劉依茹" userId="28e4d197-e403-4e73-946f-379830aa94f1" providerId="ADAL" clId="{FA982C32-90E6-49A0-B1C8-E534252F3BB7}" dt="2024-10-15T02:42:04.745" v="713" actId="1035"/>
          <ac:picMkLst>
            <pc:docMk/>
            <pc:sldMk cId="3376911728" sldId="2146848513"/>
            <ac:picMk id="7" creationId="{F8D023B0-5E3F-C7F6-2495-0ABF25F00782}"/>
          </ac:picMkLst>
        </pc:picChg>
        <pc:picChg chg="mod">
          <ac:chgData name="Rebecca Liu 劉依茹" userId="28e4d197-e403-4e73-946f-379830aa94f1" providerId="ADAL" clId="{FA982C32-90E6-49A0-B1C8-E534252F3BB7}" dt="2024-10-15T02:42:04.745" v="713" actId="1035"/>
          <ac:picMkLst>
            <pc:docMk/>
            <pc:sldMk cId="3376911728" sldId="2146848513"/>
            <ac:picMk id="9" creationId="{99EA88B6-8B4E-0B3F-3E2B-3897544AE16B}"/>
          </ac:picMkLst>
        </pc:picChg>
      </pc:sldChg>
      <pc:sldChg chg="mod ord modShow">
        <pc:chgData name="Rebecca Liu 劉依茹" userId="28e4d197-e403-4e73-946f-379830aa94f1" providerId="ADAL" clId="{FA982C32-90E6-49A0-B1C8-E534252F3BB7}" dt="2024-10-16T00:23:30.213" v="1728"/>
        <pc:sldMkLst>
          <pc:docMk/>
          <pc:sldMk cId="1452239299" sldId="2146848514"/>
        </pc:sldMkLst>
      </pc:sldChg>
      <pc:sldChg chg="addSp delSp modSp mod ord modNotesTx">
        <pc:chgData name="Rebecca Liu 劉依茹" userId="28e4d197-e403-4e73-946f-379830aa94f1" providerId="ADAL" clId="{FA982C32-90E6-49A0-B1C8-E534252F3BB7}" dt="2024-10-16T03:42:33.200" v="1884"/>
        <pc:sldMkLst>
          <pc:docMk/>
          <pc:sldMk cId="896262111" sldId="2146848515"/>
        </pc:sldMkLst>
        <pc:spChg chg="add del mod">
          <ac:chgData name="Rebecca Liu 劉依茹" userId="28e4d197-e403-4e73-946f-379830aa94f1" providerId="ADAL" clId="{FA982C32-90E6-49A0-B1C8-E534252F3BB7}" dt="2024-10-15T02:44:11.307" v="722" actId="478"/>
          <ac:spMkLst>
            <pc:docMk/>
            <pc:sldMk cId="896262111" sldId="2146848515"/>
            <ac:spMk id="2" creationId="{625CFF60-E18F-E760-1847-BD9CCF4A3BBF}"/>
          </ac:spMkLst>
        </pc:spChg>
        <pc:spChg chg="add mod">
          <ac:chgData name="Rebecca Liu 劉依茹" userId="28e4d197-e403-4e73-946f-379830aa94f1" providerId="ADAL" clId="{FA982C32-90E6-49A0-B1C8-E534252F3BB7}" dt="2024-10-15T05:14:05.004" v="1591" actId="1038"/>
          <ac:spMkLst>
            <pc:docMk/>
            <pc:sldMk cId="896262111" sldId="2146848515"/>
            <ac:spMk id="4" creationId="{CFD8BC68-B50D-8B9C-8B4A-043113A285EC}"/>
          </ac:spMkLst>
        </pc:spChg>
        <pc:spChg chg="mod">
          <ac:chgData name="Rebecca Liu 劉依茹" userId="28e4d197-e403-4e73-946f-379830aa94f1" providerId="ADAL" clId="{FA982C32-90E6-49A0-B1C8-E534252F3BB7}" dt="2024-10-15T05:14:05.004" v="1591" actId="1038"/>
          <ac:spMkLst>
            <pc:docMk/>
            <pc:sldMk cId="896262111" sldId="2146848515"/>
            <ac:spMk id="6" creationId="{92B2DFA2-0CA2-1243-4B6A-9740184D2476}"/>
          </ac:spMkLst>
        </pc:spChg>
        <pc:spChg chg="mod">
          <ac:chgData name="Rebecca Liu 劉依茹" userId="28e4d197-e403-4e73-946f-379830aa94f1" providerId="ADAL" clId="{FA982C32-90E6-49A0-B1C8-E534252F3BB7}" dt="2024-10-15T05:14:05.004" v="1591" actId="1038"/>
          <ac:spMkLst>
            <pc:docMk/>
            <pc:sldMk cId="896262111" sldId="2146848515"/>
            <ac:spMk id="7" creationId="{85C4E1FC-7306-688E-1661-DF6B173BCFFE}"/>
          </ac:spMkLst>
        </pc:spChg>
        <pc:spChg chg="add mod">
          <ac:chgData name="Rebecca Liu 劉依茹" userId="28e4d197-e403-4e73-946f-379830aa94f1" providerId="ADAL" clId="{FA982C32-90E6-49A0-B1C8-E534252F3BB7}" dt="2024-10-15T05:14:05.004" v="1591" actId="1038"/>
          <ac:spMkLst>
            <pc:docMk/>
            <pc:sldMk cId="896262111" sldId="2146848515"/>
            <ac:spMk id="8" creationId="{8DFDBC69-80FA-9299-7AE5-4FB189B68CFD}"/>
          </ac:spMkLst>
        </pc:spChg>
        <pc:spChg chg="add mod">
          <ac:chgData name="Rebecca Liu 劉依茹" userId="28e4d197-e403-4e73-946f-379830aa94f1" providerId="ADAL" clId="{FA982C32-90E6-49A0-B1C8-E534252F3BB7}" dt="2024-10-15T05:14:56.698" v="1665" actId="20577"/>
          <ac:spMkLst>
            <pc:docMk/>
            <pc:sldMk cId="896262111" sldId="2146848515"/>
            <ac:spMk id="9" creationId="{236ED95D-BDF8-A4FD-7EA5-023E6B9C522D}"/>
          </ac:spMkLst>
        </pc:spChg>
        <pc:picChg chg="mod modCrop">
          <ac:chgData name="Rebecca Liu 劉依茹" userId="28e4d197-e403-4e73-946f-379830aa94f1" providerId="ADAL" clId="{FA982C32-90E6-49A0-B1C8-E534252F3BB7}" dt="2024-10-15T05:14:14.292" v="1633" actId="1037"/>
          <ac:picMkLst>
            <pc:docMk/>
            <pc:sldMk cId="896262111" sldId="2146848515"/>
            <ac:picMk id="5" creationId="{F2DBC3FA-47F2-E894-1373-505B6526A047}"/>
          </ac:picMkLst>
        </pc:picChg>
      </pc:sldChg>
      <pc:sldChg chg="addSp modSp mod ord modShow">
        <pc:chgData name="Rebecca Liu 劉依茹" userId="28e4d197-e403-4e73-946f-379830aa94f1" providerId="ADAL" clId="{FA982C32-90E6-49A0-B1C8-E534252F3BB7}" dt="2024-10-15T23:29:16.572" v="1684"/>
        <pc:sldMkLst>
          <pc:docMk/>
          <pc:sldMk cId="855102633" sldId="2146848516"/>
        </pc:sldMkLst>
        <pc:spChg chg="add mod">
          <ac:chgData name="Rebecca Liu 劉依茹" userId="28e4d197-e403-4e73-946f-379830aa94f1" providerId="ADAL" clId="{FA982C32-90E6-49A0-B1C8-E534252F3BB7}" dt="2024-10-15T04:16:39.004" v="1211" actId="255"/>
          <ac:spMkLst>
            <pc:docMk/>
            <pc:sldMk cId="855102633" sldId="2146848516"/>
            <ac:spMk id="2" creationId="{39F453F4-A7B1-1615-CDF0-6B2F698E3DF5}"/>
          </ac:spMkLst>
        </pc:spChg>
        <pc:picChg chg="mod">
          <ac:chgData name="Rebecca Liu 劉依茹" userId="28e4d197-e403-4e73-946f-379830aa94f1" providerId="ADAL" clId="{FA982C32-90E6-49A0-B1C8-E534252F3BB7}" dt="2024-10-15T04:56:03.642" v="1456" actId="1076"/>
          <ac:picMkLst>
            <pc:docMk/>
            <pc:sldMk cId="855102633" sldId="2146848516"/>
            <ac:picMk id="5" creationId="{C984D212-8944-1670-B713-BBBC207A0FAA}"/>
          </ac:picMkLst>
        </pc:picChg>
      </pc:sldChg>
      <pc:sldChg chg="mod ord modShow">
        <pc:chgData name="Rebecca Liu 劉依茹" userId="28e4d197-e403-4e73-946f-379830aa94f1" providerId="ADAL" clId="{FA982C32-90E6-49A0-B1C8-E534252F3BB7}" dt="2024-10-15T23:29:16.572" v="1684"/>
        <pc:sldMkLst>
          <pc:docMk/>
          <pc:sldMk cId="418225297" sldId="2146848517"/>
        </pc:sldMkLst>
      </pc:sldChg>
      <pc:sldChg chg="mod ord modShow">
        <pc:chgData name="Rebecca Liu 劉依茹" userId="28e4d197-e403-4e73-946f-379830aa94f1" providerId="ADAL" clId="{FA982C32-90E6-49A0-B1C8-E534252F3BB7}" dt="2024-10-15T23:29:16.572" v="1684"/>
        <pc:sldMkLst>
          <pc:docMk/>
          <pc:sldMk cId="819070259" sldId="2146848518"/>
        </pc:sldMkLst>
      </pc:sldChg>
      <pc:sldChg chg="modSp mod modNotesTx">
        <pc:chgData name="Rebecca Liu 劉依茹" userId="28e4d197-e403-4e73-946f-379830aa94f1" providerId="ADAL" clId="{FA982C32-90E6-49A0-B1C8-E534252F3BB7}" dt="2024-10-16T03:58:15.680" v="1891"/>
        <pc:sldMkLst>
          <pc:docMk/>
          <pc:sldMk cId="3778839258" sldId="2146848519"/>
        </pc:sldMkLst>
        <pc:picChg chg="mod">
          <ac:chgData name="Rebecca Liu 劉依茹" userId="28e4d197-e403-4e73-946f-379830aa94f1" providerId="ADAL" clId="{FA982C32-90E6-49A0-B1C8-E534252F3BB7}" dt="2024-10-15T05:09:16.508" v="1499" actId="14100"/>
          <ac:picMkLst>
            <pc:docMk/>
            <pc:sldMk cId="3778839258" sldId="2146848519"/>
            <ac:picMk id="5" creationId="{F8580E8E-E176-9793-6674-84C1219BCA32}"/>
          </ac:picMkLst>
        </pc:picChg>
      </pc:sldChg>
      <pc:sldChg chg="modSp mod modNotesTx">
        <pc:chgData name="Rebecca Liu 劉依茹" userId="28e4d197-e403-4e73-946f-379830aa94f1" providerId="ADAL" clId="{FA982C32-90E6-49A0-B1C8-E534252F3BB7}" dt="2024-10-16T03:36:07.498" v="1736"/>
        <pc:sldMkLst>
          <pc:docMk/>
          <pc:sldMk cId="4182907108" sldId="2146848521"/>
        </pc:sldMkLst>
        <pc:spChg chg="mod">
          <ac:chgData name="Rebecca Liu 劉依茹" userId="28e4d197-e403-4e73-946f-379830aa94f1" providerId="ADAL" clId="{FA982C32-90E6-49A0-B1C8-E534252F3BB7}" dt="2024-10-11T00:53:57.406" v="78" actId="108"/>
          <ac:spMkLst>
            <pc:docMk/>
            <pc:sldMk cId="4182907108" sldId="2146848521"/>
            <ac:spMk id="2" creationId="{881524C3-8CAF-3451-2AB4-D53E1A1A46B3}"/>
          </ac:spMkLst>
        </pc:spChg>
        <pc:spChg chg="mod">
          <ac:chgData name="Rebecca Liu 劉依茹" userId="28e4d197-e403-4e73-946f-379830aa94f1" providerId="ADAL" clId="{FA982C32-90E6-49A0-B1C8-E534252F3BB7}" dt="2024-10-11T00:55:22.959" v="87" actId="20577"/>
          <ac:spMkLst>
            <pc:docMk/>
            <pc:sldMk cId="4182907108" sldId="2146848521"/>
            <ac:spMk id="3" creationId="{3C294C1B-08B0-BB26-9A17-ADC25CBB042F}"/>
          </ac:spMkLst>
        </pc:spChg>
      </pc:sldChg>
      <pc:sldChg chg="add">
        <pc:chgData name="Rebecca Liu 劉依茹" userId="28e4d197-e403-4e73-946f-379830aa94f1" providerId="ADAL" clId="{FA982C32-90E6-49A0-B1C8-E534252F3BB7}" dt="2024-10-16T05:32:36.295" v="1964"/>
        <pc:sldMkLst>
          <pc:docMk/>
          <pc:sldMk cId="1325760803" sldId="2147477342"/>
        </pc:sldMkLst>
      </pc:sldChg>
      <pc:sldChg chg="modSp add mod">
        <pc:chgData name="Rebecca Liu 劉依茹" userId="28e4d197-e403-4e73-946f-379830aa94f1" providerId="ADAL" clId="{FA982C32-90E6-49A0-B1C8-E534252F3BB7}" dt="2024-10-16T05:33:40.299" v="2014" actId="1076"/>
        <pc:sldMkLst>
          <pc:docMk/>
          <pc:sldMk cId="4176609280" sldId="2147477343"/>
        </pc:sldMkLst>
        <pc:spChg chg="mod">
          <ac:chgData name="Rebecca Liu 劉依茹" userId="28e4d197-e403-4e73-946f-379830aa94f1" providerId="ADAL" clId="{FA982C32-90E6-49A0-B1C8-E534252F3BB7}" dt="2024-10-16T05:33:40.299" v="2014" actId="1076"/>
          <ac:spMkLst>
            <pc:docMk/>
            <pc:sldMk cId="4176609280" sldId="2147477343"/>
            <ac:spMk id="8" creationId="{AE62CE60-F33A-6231-B035-EAF9CF0D21A8}"/>
          </ac:spMkLst>
        </pc:spChg>
      </pc:sldChg>
      <pc:sldChg chg="modSp add del mod">
        <pc:chgData name="Rebecca Liu 劉依茹" userId="28e4d197-e403-4e73-946f-379830aa94f1" providerId="ADAL" clId="{FA982C32-90E6-49A0-B1C8-E534252F3BB7}" dt="2024-10-16T06:17:37.462" v="2242" actId="47"/>
        <pc:sldMkLst>
          <pc:docMk/>
          <pc:sldMk cId="4187070270" sldId="2147482609"/>
        </pc:sldMkLst>
        <pc:spChg chg="mod">
          <ac:chgData name="Rebecca Liu 劉依茹" userId="28e4d197-e403-4e73-946f-379830aa94f1" providerId="ADAL" clId="{FA982C32-90E6-49A0-B1C8-E534252F3BB7}" dt="2024-10-11T01:44:16.300" v="311" actId="20577"/>
          <ac:spMkLst>
            <pc:docMk/>
            <pc:sldMk cId="4187070270" sldId="2147482609"/>
            <ac:spMk id="2" creationId="{9858E95B-EA65-4919-9C60-82C0A3187850}"/>
          </ac:spMkLst>
        </pc:spChg>
        <pc:spChg chg="mod">
          <ac:chgData name="Rebecca Liu 劉依茹" userId="28e4d197-e403-4e73-946f-379830aa94f1" providerId="ADAL" clId="{FA982C32-90E6-49A0-B1C8-E534252F3BB7}" dt="2024-10-11T01:20:19.876" v="221" actId="207"/>
          <ac:spMkLst>
            <pc:docMk/>
            <pc:sldMk cId="4187070270" sldId="2147482609"/>
            <ac:spMk id="3" creationId="{A7E48EA1-F2EE-FC41-C80B-DE1F3BACC48A}"/>
          </ac:spMkLst>
        </pc:spChg>
        <pc:spChg chg="mod">
          <ac:chgData name="Rebecca Liu 劉依茹" userId="28e4d197-e403-4e73-946f-379830aa94f1" providerId="ADAL" clId="{FA982C32-90E6-49A0-B1C8-E534252F3BB7}" dt="2024-10-11T01:19:53.764" v="210" actId="207"/>
          <ac:spMkLst>
            <pc:docMk/>
            <pc:sldMk cId="4187070270" sldId="2147482609"/>
            <ac:spMk id="8" creationId="{B32B64A4-752E-2BFB-2841-1C76D94A010E}"/>
          </ac:spMkLst>
        </pc:spChg>
        <pc:spChg chg="mod">
          <ac:chgData name="Rebecca Liu 劉依茹" userId="28e4d197-e403-4e73-946f-379830aa94f1" providerId="ADAL" clId="{FA982C32-90E6-49A0-B1C8-E534252F3BB7}" dt="2024-10-11T01:20:01.813" v="212" actId="207"/>
          <ac:spMkLst>
            <pc:docMk/>
            <pc:sldMk cId="4187070270" sldId="2147482609"/>
            <ac:spMk id="14" creationId="{3527B3F5-658C-9D7F-5727-E614650292A0}"/>
          </ac:spMkLst>
        </pc:spChg>
        <pc:spChg chg="mod">
          <ac:chgData name="Rebecca Liu 劉依茹" userId="28e4d197-e403-4e73-946f-379830aa94f1" providerId="ADAL" clId="{FA982C32-90E6-49A0-B1C8-E534252F3BB7}" dt="2024-10-11T01:20:05.845" v="213" actId="207"/>
          <ac:spMkLst>
            <pc:docMk/>
            <pc:sldMk cId="4187070270" sldId="2147482609"/>
            <ac:spMk id="15" creationId="{D89BE14D-D5A0-9BCC-DCAF-21869E65881B}"/>
          </ac:spMkLst>
        </pc:spChg>
        <pc:spChg chg="mod">
          <ac:chgData name="Rebecca Liu 劉依茹" userId="28e4d197-e403-4e73-946f-379830aa94f1" providerId="ADAL" clId="{FA982C32-90E6-49A0-B1C8-E534252F3BB7}" dt="2024-10-11T01:20:15.943" v="220" actId="207"/>
          <ac:spMkLst>
            <pc:docMk/>
            <pc:sldMk cId="4187070270" sldId="2147482609"/>
            <ac:spMk id="20" creationId="{77C097FD-487C-C4A8-8072-26926E9FE2BD}"/>
          </ac:spMkLst>
        </pc:spChg>
        <pc:spChg chg="mod">
          <ac:chgData name="Rebecca Liu 劉依茹" userId="28e4d197-e403-4e73-946f-379830aa94f1" providerId="ADAL" clId="{FA982C32-90E6-49A0-B1C8-E534252F3BB7}" dt="2024-10-11T01:19:40.253" v="207" actId="207"/>
          <ac:spMkLst>
            <pc:docMk/>
            <pc:sldMk cId="4187070270" sldId="2147482609"/>
            <ac:spMk id="28" creationId="{766F2430-002A-4220-E44B-B6A96BB4E4C1}"/>
          </ac:spMkLst>
        </pc:spChg>
        <pc:spChg chg="mod">
          <ac:chgData name="Rebecca Liu 劉依茹" userId="28e4d197-e403-4e73-946f-379830aa94f1" providerId="ADAL" clId="{FA982C32-90E6-49A0-B1C8-E534252F3BB7}" dt="2024-10-11T01:19:44.254" v="208" actId="207"/>
          <ac:spMkLst>
            <pc:docMk/>
            <pc:sldMk cId="4187070270" sldId="2147482609"/>
            <ac:spMk id="50" creationId="{4D8D4033-222E-D8FF-C964-BF71A5667A9B}"/>
          </ac:spMkLst>
        </pc:spChg>
        <pc:spChg chg="mod">
          <ac:chgData name="Rebecca Liu 劉依茹" userId="28e4d197-e403-4e73-946f-379830aa94f1" providerId="ADAL" clId="{FA982C32-90E6-49A0-B1C8-E534252F3BB7}" dt="2024-10-11T01:19:50.243" v="209" actId="207"/>
          <ac:spMkLst>
            <pc:docMk/>
            <pc:sldMk cId="4187070270" sldId="2147482609"/>
            <ac:spMk id="60" creationId="{A9F64D8A-CA32-EB6F-784A-8F3A9BDCCCEB}"/>
          </ac:spMkLst>
        </pc:spChg>
        <pc:spChg chg="mod">
          <ac:chgData name="Rebecca Liu 劉依茹" userId="28e4d197-e403-4e73-946f-379830aa94f1" providerId="ADAL" clId="{FA982C32-90E6-49A0-B1C8-E534252F3BB7}" dt="2024-10-11T01:19:58.038" v="211" actId="207"/>
          <ac:spMkLst>
            <pc:docMk/>
            <pc:sldMk cId="4187070270" sldId="2147482609"/>
            <ac:spMk id="67" creationId="{2E57A2C6-9D2E-7010-D7D5-E39A8507E218}"/>
          </ac:spMkLst>
        </pc:spChg>
      </pc:sldChg>
      <pc:sldChg chg="add del">
        <pc:chgData name="Rebecca Liu 劉依茹" userId="28e4d197-e403-4e73-946f-379830aa94f1" providerId="ADAL" clId="{FA982C32-90E6-49A0-B1C8-E534252F3BB7}" dt="2024-10-16T06:17:37.462" v="2242" actId="47"/>
        <pc:sldMkLst>
          <pc:docMk/>
          <pc:sldMk cId="531963909" sldId="2147482610"/>
        </pc:sldMkLst>
      </pc:sldChg>
      <pc:sldChg chg="addSp modSp add del mod">
        <pc:chgData name="Rebecca Liu 劉依茹" userId="28e4d197-e403-4e73-946f-379830aa94f1" providerId="ADAL" clId="{FA982C32-90E6-49A0-B1C8-E534252F3BB7}" dt="2024-10-16T06:17:37.462" v="2242" actId="47"/>
        <pc:sldMkLst>
          <pc:docMk/>
          <pc:sldMk cId="2008814104" sldId="2147482612"/>
        </pc:sldMkLst>
        <pc:spChg chg="add mod">
          <ac:chgData name="Rebecca Liu 劉依茹" userId="28e4d197-e403-4e73-946f-379830aa94f1" providerId="ADAL" clId="{FA982C32-90E6-49A0-B1C8-E534252F3BB7}" dt="2024-10-11T01:44:30.009" v="316"/>
          <ac:spMkLst>
            <pc:docMk/>
            <pc:sldMk cId="2008814104" sldId="2147482612"/>
            <ac:spMk id="3" creationId="{AB5B561A-9326-16F9-5E51-FD5F88A1C5F3}"/>
          </ac:spMkLst>
        </pc:spChg>
        <pc:spChg chg="add mod">
          <ac:chgData name="Rebecca Liu 劉依茹" userId="28e4d197-e403-4e73-946f-379830aa94f1" providerId="ADAL" clId="{FA982C32-90E6-49A0-B1C8-E534252F3BB7}" dt="2024-10-11T01:25:20.474" v="263" actId="1076"/>
          <ac:spMkLst>
            <pc:docMk/>
            <pc:sldMk cId="2008814104" sldId="2147482612"/>
            <ac:spMk id="7" creationId="{8F357548-3D4A-0D80-E56D-64CDCD65EB4B}"/>
          </ac:spMkLst>
        </pc:spChg>
        <pc:spChg chg="add mod">
          <ac:chgData name="Rebecca Liu 劉依茹" userId="28e4d197-e403-4e73-946f-379830aa94f1" providerId="ADAL" clId="{FA982C32-90E6-49A0-B1C8-E534252F3BB7}" dt="2024-10-11T01:27:26.552" v="282"/>
          <ac:spMkLst>
            <pc:docMk/>
            <pc:sldMk cId="2008814104" sldId="2147482612"/>
            <ac:spMk id="8" creationId="{A761EF0D-8AFF-CD0D-6D95-C4EA013003C0}"/>
          </ac:spMkLst>
        </pc:spChg>
        <pc:spChg chg="add mod">
          <ac:chgData name="Rebecca Liu 劉依茹" userId="28e4d197-e403-4e73-946f-379830aa94f1" providerId="ADAL" clId="{FA982C32-90E6-49A0-B1C8-E534252F3BB7}" dt="2024-10-11T01:28:40.207" v="289" actId="20577"/>
          <ac:spMkLst>
            <pc:docMk/>
            <pc:sldMk cId="2008814104" sldId="2147482612"/>
            <ac:spMk id="9" creationId="{721FAAAA-4845-18ED-6E88-D25B1E2B91D0}"/>
          </ac:spMkLst>
        </pc:spChg>
        <pc:spChg chg="add mod">
          <ac:chgData name="Rebecca Liu 劉依茹" userId="28e4d197-e403-4e73-946f-379830aa94f1" providerId="ADAL" clId="{FA982C32-90E6-49A0-B1C8-E534252F3BB7}" dt="2024-10-11T01:27:44.320" v="283"/>
          <ac:spMkLst>
            <pc:docMk/>
            <pc:sldMk cId="2008814104" sldId="2147482612"/>
            <ac:spMk id="10" creationId="{874124D9-A9EE-DF89-A90A-A964341FE541}"/>
          </ac:spMkLst>
        </pc:spChg>
        <pc:spChg chg="add mod">
          <ac:chgData name="Rebecca Liu 劉依茹" userId="28e4d197-e403-4e73-946f-379830aa94f1" providerId="ADAL" clId="{FA982C32-90E6-49A0-B1C8-E534252F3BB7}" dt="2024-10-11T01:26:52.678" v="281" actId="20577"/>
          <ac:spMkLst>
            <pc:docMk/>
            <pc:sldMk cId="2008814104" sldId="2147482612"/>
            <ac:spMk id="11" creationId="{32D97A2C-2E5E-B3E4-439C-A3B47EA38837}"/>
          </ac:spMkLst>
        </pc:spChg>
        <pc:spChg chg="add mod">
          <ac:chgData name="Rebecca Liu 劉依茹" userId="28e4d197-e403-4e73-946f-379830aa94f1" providerId="ADAL" clId="{FA982C32-90E6-49A0-B1C8-E534252F3BB7}" dt="2024-10-11T01:28:15.963" v="285"/>
          <ac:spMkLst>
            <pc:docMk/>
            <pc:sldMk cId="2008814104" sldId="2147482612"/>
            <ac:spMk id="12" creationId="{F19ECDE4-FE9B-82CA-5D60-76541309D467}"/>
          </ac:spMkLst>
        </pc:spChg>
        <pc:spChg chg="add mod">
          <ac:chgData name="Rebecca Liu 劉依茹" userId="28e4d197-e403-4e73-946f-379830aa94f1" providerId="ADAL" clId="{FA982C32-90E6-49A0-B1C8-E534252F3BB7}" dt="2024-10-11T01:28:15.963" v="285"/>
          <ac:spMkLst>
            <pc:docMk/>
            <pc:sldMk cId="2008814104" sldId="2147482612"/>
            <ac:spMk id="13" creationId="{FFF727CF-F530-5221-7436-58A059BFC3EE}"/>
          </ac:spMkLst>
        </pc:spChg>
        <pc:spChg chg="add mod">
          <ac:chgData name="Rebecca Liu 劉依茹" userId="28e4d197-e403-4e73-946f-379830aa94f1" providerId="ADAL" clId="{FA982C32-90E6-49A0-B1C8-E534252F3BB7}" dt="2024-10-11T01:28:15.963" v="285"/>
          <ac:spMkLst>
            <pc:docMk/>
            <pc:sldMk cId="2008814104" sldId="2147482612"/>
            <ac:spMk id="14" creationId="{BA5D0839-B5FE-FC60-1F85-F4BC898F8CE6}"/>
          </ac:spMkLst>
        </pc:spChg>
        <pc:spChg chg="add mod">
          <ac:chgData name="Rebecca Liu 劉依茹" userId="28e4d197-e403-4e73-946f-379830aa94f1" providerId="ADAL" clId="{FA982C32-90E6-49A0-B1C8-E534252F3BB7}" dt="2024-10-11T01:28:15.963" v="285"/>
          <ac:spMkLst>
            <pc:docMk/>
            <pc:sldMk cId="2008814104" sldId="2147482612"/>
            <ac:spMk id="15" creationId="{BAFC8515-3158-8FCE-04E8-41676556DBB6}"/>
          </ac:spMkLst>
        </pc:spChg>
        <pc:spChg chg="add mod">
          <ac:chgData name="Rebecca Liu 劉依茹" userId="28e4d197-e403-4e73-946f-379830aa94f1" providerId="ADAL" clId="{FA982C32-90E6-49A0-B1C8-E534252F3BB7}" dt="2024-10-11T01:28:15.963" v="285"/>
          <ac:spMkLst>
            <pc:docMk/>
            <pc:sldMk cId="2008814104" sldId="2147482612"/>
            <ac:spMk id="16" creationId="{47A5C981-DAEE-8B88-FED5-0ACC40A78EA5}"/>
          </ac:spMkLst>
        </pc:spChg>
        <pc:spChg chg="add mod">
          <ac:chgData name="Rebecca Liu 劉依茹" userId="28e4d197-e403-4e73-946f-379830aa94f1" providerId="ADAL" clId="{FA982C32-90E6-49A0-B1C8-E534252F3BB7}" dt="2024-10-11T01:28:22.816" v="287"/>
          <ac:spMkLst>
            <pc:docMk/>
            <pc:sldMk cId="2008814104" sldId="2147482612"/>
            <ac:spMk id="17" creationId="{192A75B6-37F6-8ABC-3C97-E30A03D235A1}"/>
          </ac:spMkLst>
        </pc:spChg>
        <pc:spChg chg="add mod">
          <ac:chgData name="Rebecca Liu 劉依茹" userId="28e4d197-e403-4e73-946f-379830aa94f1" providerId="ADAL" clId="{FA982C32-90E6-49A0-B1C8-E534252F3BB7}" dt="2024-10-11T01:28:22.816" v="287"/>
          <ac:spMkLst>
            <pc:docMk/>
            <pc:sldMk cId="2008814104" sldId="2147482612"/>
            <ac:spMk id="18" creationId="{DE1F168A-82D4-BBD2-5C7E-31FB63E45A93}"/>
          </ac:spMkLst>
        </pc:spChg>
        <pc:spChg chg="add mod">
          <ac:chgData name="Rebecca Liu 劉依茹" userId="28e4d197-e403-4e73-946f-379830aa94f1" providerId="ADAL" clId="{FA982C32-90E6-49A0-B1C8-E534252F3BB7}" dt="2024-10-11T01:28:22.816" v="287"/>
          <ac:spMkLst>
            <pc:docMk/>
            <pc:sldMk cId="2008814104" sldId="2147482612"/>
            <ac:spMk id="19" creationId="{D20AE59F-9541-5D42-4A2E-2A937A2197DE}"/>
          </ac:spMkLst>
        </pc:spChg>
        <pc:spChg chg="add mod">
          <ac:chgData name="Rebecca Liu 劉依茹" userId="28e4d197-e403-4e73-946f-379830aa94f1" providerId="ADAL" clId="{FA982C32-90E6-49A0-B1C8-E534252F3BB7}" dt="2024-10-11T01:28:22.816" v="287"/>
          <ac:spMkLst>
            <pc:docMk/>
            <pc:sldMk cId="2008814104" sldId="2147482612"/>
            <ac:spMk id="20" creationId="{580BFF79-F3E4-5878-A0B4-786D3BEF8661}"/>
          </ac:spMkLst>
        </pc:spChg>
        <pc:spChg chg="add mod">
          <ac:chgData name="Rebecca Liu 劉依茹" userId="28e4d197-e403-4e73-946f-379830aa94f1" providerId="ADAL" clId="{FA982C32-90E6-49A0-B1C8-E534252F3BB7}" dt="2024-10-11T01:28:22.816" v="287"/>
          <ac:spMkLst>
            <pc:docMk/>
            <pc:sldMk cId="2008814104" sldId="2147482612"/>
            <ac:spMk id="21" creationId="{C084AE1A-C7B8-AB34-CF33-346409CD49B3}"/>
          </ac:spMkLst>
        </pc:spChg>
        <pc:graphicFrameChg chg="mod">
          <ac:chgData name="Rebecca Liu 劉依茹" userId="28e4d197-e403-4e73-946f-379830aa94f1" providerId="ADAL" clId="{FA982C32-90E6-49A0-B1C8-E534252F3BB7}" dt="2024-10-11T01:23:53.716" v="252"/>
          <ac:graphicFrameMkLst>
            <pc:docMk/>
            <pc:sldMk cId="2008814104" sldId="2147482612"/>
            <ac:graphicFrameMk id="5" creationId="{5C3332EC-0AAE-C2F8-3C16-F2819393C5D8}"/>
          </ac:graphicFrameMkLst>
        </pc:graphicFrameChg>
      </pc:sldChg>
      <pc:sldChg chg="modSp add del mod modNotesTx">
        <pc:chgData name="Rebecca Liu 劉依茹" userId="28e4d197-e403-4e73-946f-379830aa94f1" providerId="ADAL" clId="{FA982C32-90E6-49A0-B1C8-E534252F3BB7}" dt="2024-10-16T06:17:37.462" v="2242" actId="47"/>
        <pc:sldMkLst>
          <pc:docMk/>
          <pc:sldMk cId="2909511979" sldId="2147482616"/>
        </pc:sldMkLst>
        <pc:spChg chg="mod">
          <ac:chgData name="Rebecca Liu 劉依茹" userId="28e4d197-e403-4e73-946f-379830aa94f1" providerId="ADAL" clId="{FA982C32-90E6-49A0-B1C8-E534252F3BB7}" dt="2024-10-11T01:12:27.923" v="107" actId="20577"/>
          <ac:spMkLst>
            <pc:docMk/>
            <pc:sldMk cId="2909511979" sldId="2147482616"/>
            <ac:spMk id="2" creationId="{F03365CA-520B-442D-95FE-38AF582642FE}"/>
          </ac:spMkLst>
        </pc:spChg>
      </pc:sldChg>
      <pc:sldChg chg="modSp add del mod modNotesTx">
        <pc:chgData name="Rebecca Liu 劉依茹" userId="28e4d197-e403-4e73-946f-379830aa94f1" providerId="ADAL" clId="{FA982C32-90E6-49A0-B1C8-E534252F3BB7}" dt="2024-10-16T08:14:26.057" v="2287" actId="47"/>
        <pc:sldMkLst>
          <pc:docMk/>
          <pc:sldMk cId="3512790955" sldId="2147482617"/>
        </pc:sldMkLst>
        <pc:spChg chg="mod">
          <ac:chgData name="Rebecca Liu 劉依茹" userId="28e4d197-e403-4e73-946f-379830aa94f1" providerId="ADAL" clId="{FA982C32-90E6-49A0-B1C8-E534252F3BB7}" dt="2024-10-11T00:49:25.863" v="56" actId="20577"/>
          <ac:spMkLst>
            <pc:docMk/>
            <pc:sldMk cId="3512790955" sldId="2147482617"/>
            <ac:spMk id="2" creationId="{F03365CA-520B-442D-95FE-38AF582642FE}"/>
          </ac:spMkLst>
        </pc:spChg>
      </pc:sldChg>
      <pc:sldChg chg="delSp modSp add mod modNotesTx">
        <pc:chgData name="Rebecca Liu 劉依茹" userId="28e4d197-e403-4e73-946f-379830aa94f1" providerId="ADAL" clId="{FA982C32-90E6-49A0-B1C8-E534252F3BB7}" dt="2024-10-16T03:34:33.464" v="1730"/>
        <pc:sldMkLst>
          <pc:docMk/>
          <pc:sldMk cId="435190792" sldId="2147482625"/>
        </pc:sldMkLst>
        <pc:spChg chg="mod">
          <ac:chgData name="Rebecca Liu 劉依茹" userId="28e4d197-e403-4e73-946f-379830aa94f1" providerId="ADAL" clId="{FA982C32-90E6-49A0-B1C8-E534252F3BB7}" dt="2024-10-15T23:32:45.733" v="1722" actId="20577"/>
          <ac:spMkLst>
            <pc:docMk/>
            <pc:sldMk cId="435190792" sldId="2147482625"/>
            <ac:spMk id="6" creationId="{FE1A8335-917F-4F2C-CE73-130D8D7BC229}"/>
          </ac:spMkLst>
        </pc:spChg>
        <pc:spChg chg="mod">
          <ac:chgData name="Rebecca Liu 劉依茹" userId="28e4d197-e403-4e73-946f-379830aa94f1" providerId="ADAL" clId="{FA982C32-90E6-49A0-B1C8-E534252F3BB7}" dt="2024-10-15T23:32:19.710" v="1689" actId="20578"/>
          <ac:spMkLst>
            <pc:docMk/>
            <pc:sldMk cId="435190792" sldId="2147482625"/>
            <ac:spMk id="8" creationId="{0CC0BC93-FAE7-3F66-DB1F-AB053AE3CBA5}"/>
          </ac:spMkLst>
        </pc:spChg>
        <pc:picChg chg="del">
          <ac:chgData name="Rebecca Liu 劉依茹" userId="28e4d197-e403-4e73-946f-379830aa94f1" providerId="ADAL" clId="{FA982C32-90E6-49A0-B1C8-E534252F3BB7}" dt="2024-10-15T03:11:05.584" v="753" actId="478"/>
          <ac:picMkLst>
            <pc:docMk/>
            <pc:sldMk cId="435190792" sldId="2147482625"/>
            <ac:picMk id="2" creationId="{26CAC6B6-2990-5D68-53E5-597055437463}"/>
          </ac:picMkLst>
        </pc:picChg>
      </pc:sldChg>
      <pc:sldChg chg="new del">
        <pc:chgData name="Rebecca Liu 劉依茹" userId="28e4d197-e403-4e73-946f-379830aa94f1" providerId="ADAL" clId="{FA982C32-90E6-49A0-B1C8-E534252F3BB7}" dt="2024-10-15T03:10:42.549" v="731" actId="47"/>
        <pc:sldMkLst>
          <pc:docMk/>
          <pc:sldMk cId="2931781140" sldId="2147482625"/>
        </pc:sldMkLst>
      </pc:sldChg>
      <pc:sldChg chg="add">
        <pc:chgData name="Rebecca Liu 劉依茹" userId="28e4d197-e403-4e73-946f-379830aa94f1" providerId="ADAL" clId="{FA982C32-90E6-49A0-B1C8-E534252F3BB7}" dt="2024-10-15T03:20:45.587" v="1123"/>
        <pc:sldMkLst>
          <pc:docMk/>
          <pc:sldMk cId="1150504183" sldId="2147482626"/>
        </pc:sldMkLst>
      </pc:sldChg>
      <pc:sldChg chg="modSp new del mod">
        <pc:chgData name="Rebecca Liu 劉依茹" userId="28e4d197-e403-4e73-946f-379830aa94f1" providerId="ADAL" clId="{FA982C32-90E6-49A0-B1C8-E534252F3BB7}" dt="2024-10-15T03:17:31.899" v="1085" actId="47"/>
        <pc:sldMkLst>
          <pc:docMk/>
          <pc:sldMk cId="2203004875" sldId="2147482626"/>
        </pc:sldMkLst>
        <pc:spChg chg="mod">
          <ac:chgData name="Rebecca Liu 劉依茹" userId="28e4d197-e403-4e73-946f-379830aa94f1" providerId="ADAL" clId="{FA982C32-90E6-49A0-B1C8-E534252F3BB7}" dt="2024-10-15T03:17:06.800" v="1084" actId="20577"/>
          <ac:spMkLst>
            <pc:docMk/>
            <pc:sldMk cId="2203004875" sldId="2147482626"/>
            <ac:spMk id="2" creationId="{55CFB747-AFFD-0DB6-27A6-CC1B9068ED05}"/>
          </ac:spMkLst>
        </pc:spChg>
      </pc:sldChg>
      <pc:sldChg chg="add del">
        <pc:chgData name="Rebecca Liu 劉依茹" userId="28e4d197-e403-4e73-946f-379830aa94f1" providerId="ADAL" clId="{FA982C32-90E6-49A0-B1C8-E534252F3BB7}" dt="2024-10-15T03:19:11.073" v="1087" actId="47"/>
        <pc:sldMkLst>
          <pc:docMk/>
          <pc:sldMk cId="2389656627" sldId="2147482626"/>
        </pc:sldMkLst>
      </pc:sldChg>
      <pc:sldChg chg="new del">
        <pc:chgData name="Rebecca Liu 劉依茹" userId="28e4d197-e403-4e73-946f-379830aa94f1" providerId="ADAL" clId="{FA982C32-90E6-49A0-B1C8-E534252F3BB7}" dt="2024-10-15T03:10:43.581" v="732" actId="47"/>
        <pc:sldMkLst>
          <pc:docMk/>
          <pc:sldMk cId="2550243896" sldId="2147482626"/>
        </pc:sldMkLst>
      </pc:sldChg>
      <pc:sldChg chg="add del">
        <pc:chgData name="Rebecca Liu 劉依茹" userId="28e4d197-e403-4e73-946f-379830aa94f1" providerId="ADAL" clId="{FA982C32-90E6-49A0-B1C8-E534252F3BB7}" dt="2024-10-15T03:20:12.657" v="1122" actId="47"/>
        <pc:sldMkLst>
          <pc:docMk/>
          <pc:sldMk cId="4193262542" sldId="2147482626"/>
        </pc:sldMkLst>
      </pc:sldChg>
      <pc:sldChg chg="add">
        <pc:chgData name="Rebecca Liu 劉依茹" userId="28e4d197-e403-4e73-946f-379830aa94f1" providerId="ADAL" clId="{FA982C32-90E6-49A0-B1C8-E534252F3BB7}" dt="2024-10-15T03:20:45.587" v="1123"/>
        <pc:sldMkLst>
          <pc:docMk/>
          <pc:sldMk cId="3001059142" sldId="2147482627"/>
        </pc:sldMkLst>
      </pc:sldChg>
      <pc:sldChg chg="modSp add">
        <pc:chgData name="Rebecca Liu 劉依茹" userId="28e4d197-e403-4e73-946f-379830aa94f1" providerId="ADAL" clId="{FA982C32-90E6-49A0-B1C8-E534252F3BB7}" dt="2024-10-15T03:20:45.587" v="1123"/>
        <pc:sldMkLst>
          <pc:docMk/>
          <pc:sldMk cId="2344954448" sldId="2147482628"/>
        </pc:sldMkLst>
        <pc:spChg chg="mod">
          <ac:chgData name="Rebecca Liu 劉依茹" userId="28e4d197-e403-4e73-946f-379830aa94f1" providerId="ADAL" clId="{FA982C32-90E6-49A0-B1C8-E534252F3BB7}" dt="2024-10-15T03:20:45.587" v="1123"/>
          <ac:spMkLst>
            <pc:docMk/>
            <pc:sldMk cId="2344954448" sldId="2147482628"/>
            <ac:spMk id="3" creationId="{ED4E71ED-3D41-54F3-F8B9-89358ABD2BEC}"/>
          </ac:spMkLst>
        </pc:spChg>
        <pc:spChg chg="mod">
          <ac:chgData name="Rebecca Liu 劉依茹" userId="28e4d197-e403-4e73-946f-379830aa94f1" providerId="ADAL" clId="{FA982C32-90E6-49A0-B1C8-E534252F3BB7}" dt="2024-10-15T03:20:45.587" v="1123"/>
          <ac:spMkLst>
            <pc:docMk/>
            <pc:sldMk cId="2344954448" sldId="2147482628"/>
            <ac:spMk id="4" creationId="{ACC7497A-75B2-97EE-1F3A-E4ABEB879761}"/>
          </ac:spMkLst>
        </pc:spChg>
      </pc:sldChg>
      <pc:sldChg chg="add">
        <pc:chgData name="Rebecca Liu 劉依茹" userId="28e4d197-e403-4e73-946f-379830aa94f1" providerId="ADAL" clId="{FA982C32-90E6-49A0-B1C8-E534252F3BB7}" dt="2024-10-15T03:20:45.587" v="1123"/>
        <pc:sldMkLst>
          <pc:docMk/>
          <pc:sldMk cId="453588469" sldId="2147482629"/>
        </pc:sldMkLst>
      </pc:sldChg>
      <pc:sldChg chg="add">
        <pc:chgData name="Rebecca Liu 劉依茹" userId="28e4d197-e403-4e73-946f-379830aa94f1" providerId="ADAL" clId="{FA982C32-90E6-49A0-B1C8-E534252F3BB7}" dt="2024-10-15T03:20:45.587" v="1123"/>
        <pc:sldMkLst>
          <pc:docMk/>
          <pc:sldMk cId="638366256" sldId="2147482630"/>
        </pc:sldMkLst>
      </pc:sldChg>
      <pc:sldChg chg="modSp add mod ord">
        <pc:chgData name="Rebecca Liu 劉依茹" userId="28e4d197-e403-4e73-946f-379830aa94f1" providerId="ADAL" clId="{FA982C32-90E6-49A0-B1C8-E534252F3BB7}" dt="2024-10-15T23:29:34.583" v="1686"/>
        <pc:sldMkLst>
          <pc:docMk/>
          <pc:sldMk cId="1763609805" sldId="2147482631"/>
        </pc:sldMkLst>
        <pc:spChg chg="mod">
          <ac:chgData name="Rebecca Liu 劉依茹" userId="28e4d197-e403-4e73-946f-379830aa94f1" providerId="ADAL" clId="{FA982C32-90E6-49A0-B1C8-E534252F3BB7}" dt="2024-10-15T04:14:00.628" v="1168" actId="108"/>
          <ac:spMkLst>
            <pc:docMk/>
            <pc:sldMk cId="1763609805" sldId="2147482631"/>
            <ac:spMk id="2" creationId="{F03365CA-520B-442D-95FE-38AF582642FE}"/>
          </ac:spMkLst>
        </pc:spChg>
      </pc:sldChg>
      <pc:sldChg chg="addSp delSp modSp add mod ord modNotesTx">
        <pc:chgData name="Rebecca Liu 劉依茹" userId="28e4d197-e403-4e73-946f-379830aa94f1" providerId="ADAL" clId="{FA982C32-90E6-49A0-B1C8-E534252F3BB7}" dt="2024-10-16T06:20:09.146" v="2286"/>
        <pc:sldMkLst>
          <pc:docMk/>
          <pc:sldMk cId="3804237796" sldId="2147482632"/>
        </pc:sldMkLst>
        <pc:spChg chg="mod">
          <ac:chgData name="Rebecca Liu 劉依茹" userId="28e4d197-e403-4e73-946f-379830aa94f1" providerId="ADAL" clId="{FA982C32-90E6-49A0-B1C8-E534252F3BB7}" dt="2024-10-15T04:55:56.347" v="1454" actId="20577"/>
          <ac:spMkLst>
            <pc:docMk/>
            <pc:sldMk cId="3804237796" sldId="2147482632"/>
            <ac:spMk id="2" creationId="{39F453F4-A7B1-1615-CDF0-6B2F698E3DF5}"/>
          </ac:spMkLst>
        </pc:spChg>
        <pc:spChg chg="del">
          <ac:chgData name="Rebecca Liu 劉依茹" userId="28e4d197-e403-4e73-946f-379830aa94f1" providerId="ADAL" clId="{FA982C32-90E6-49A0-B1C8-E534252F3BB7}" dt="2024-10-15T04:18:16.143" v="1249" actId="1032"/>
          <ac:spMkLst>
            <pc:docMk/>
            <pc:sldMk cId="3804237796" sldId="2147482632"/>
            <ac:spMk id="7" creationId="{290E23B6-2509-7C4E-3D73-9FCC9EC4C20B}"/>
          </ac:spMkLst>
        </pc:spChg>
        <pc:graphicFrameChg chg="add mod modGraphic">
          <ac:chgData name="Rebecca Liu 劉依茹" userId="28e4d197-e403-4e73-946f-379830aa94f1" providerId="ADAL" clId="{FA982C32-90E6-49A0-B1C8-E534252F3BB7}" dt="2024-10-16T06:20:09.146" v="2286"/>
          <ac:graphicFrameMkLst>
            <pc:docMk/>
            <pc:sldMk cId="3804237796" sldId="2147482632"/>
            <ac:graphicFrameMk id="4" creationId="{8D0FE662-DF36-D867-4D5B-9CAB0AFD4BB5}"/>
          </ac:graphicFrameMkLst>
        </pc:graphicFrameChg>
        <pc:graphicFrameChg chg="add del mod">
          <ac:chgData name="Rebecca Liu 劉依茹" userId="28e4d197-e403-4e73-946f-379830aa94f1" providerId="ADAL" clId="{FA982C32-90E6-49A0-B1C8-E534252F3BB7}" dt="2024-10-15T04:55:26.963" v="1443" actId="478"/>
          <ac:graphicFrameMkLst>
            <pc:docMk/>
            <pc:sldMk cId="3804237796" sldId="2147482632"/>
            <ac:graphicFrameMk id="6" creationId="{24780CBC-97D9-9726-53F5-C8E4A68C64E8}"/>
          </ac:graphicFrameMkLst>
        </pc:graphicFrameChg>
        <pc:picChg chg="del">
          <ac:chgData name="Rebecca Liu 劉依茹" userId="28e4d197-e403-4e73-946f-379830aa94f1" providerId="ADAL" clId="{FA982C32-90E6-49A0-B1C8-E534252F3BB7}" dt="2024-10-15T04:17:46.189" v="1248" actId="478"/>
          <ac:picMkLst>
            <pc:docMk/>
            <pc:sldMk cId="3804237796" sldId="2147482632"/>
            <ac:picMk id="5" creationId="{C984D212-8944-1670-B713-BBBC207A0FAA}"/>
          </ac:picMkLst>
        </pc:picChg>
        <pc:picChg chg="add mod modCrop">
          <ac:chgData name="Rebecca Liu 劉依茹" userId="28e4d197-e403-4e73-946f-379830aa94f1" providerId="ADAL" clId="{FA982C32-90E6-49A0-B1C8-E534252F3BB7}" dt="2024-10-15T04:55:22.574" v="1442" actId="1076"/>
          <ac:picMkLst>
            <pc:docMk/>
            <pc:sldMk cId="3804237796" sldId="2147482632"/>
            <ac:picMk id="8" creationId="{5F37E547-6207-EF9A-9193-0BC0E94E0B1B}"/>
          </ac:picMkLst>
        </pc:picChg>
      </pc:sldChg>
      <pc:sldChg chg="addSp delSp modSp add mod modNotesTx">
        <pc:chgData name="Rebecca Liu 劉依茹" userId="28e4d197-e403-4e73-946f-379830aa94f1" providerId="ADAL" clId="{FA982C32-90E6-49A0-B1C8-E534252F3BB7}" dt="2024-10-16T06:20:02.401" v="2285"/>
        <pc:sldMkLst>
          <pc:docMk/>
          <pc:sldMk cId="2991120982" sldId="2147482633"/>
        </pc:sldMkLst>
        <pc:graphicFrameChg chg="mod">
          <ac:chgData name="Rebecca Liu 劉依茹" userId="28e4d197-e403-4e73-946f-379830aa94f1" providerId="ADAL" clId="{FA982C32-90E6-49A0-B1C8-E534252F3BB7}" dt="2024-10-16T06:20:02.401" v="2285"/>
          <ac:graphicFrameMkLst>
            <pc:docMk/>
            <pc:sldMk cId="2991120982" sldId="2147482633"/>
            <ac:graphicFrameMk id="4" creationId="{8D0FE662-DF36-D867-4D5B-9CAB0AFD4BB5}"/>
          </ac:graphicFrameMkLst>
        </pc:graphicFrameChg>
        <pc:picChg chg="add mod modCrop">
          <ac:chgData name="Rebecca Liu 劉依茹" userId="28e4d197-e403-4e73-946f-379830aa94f1" providerId="ADAL" clId="{FA982C32-90E6-49A0-B1C8-E534252F3BB7}" dt="2024-10-15T04:56:43.037" v="1465" actId="1038"/>
          <ac:picMkLst>
            <pc:docMk/>
            <pc:sldMk cId="2991120982" sldId="2147482633"/>
            <ac:picMk id="5" creationId="{9D28A80D-A151-3E30-7537-FB8877B5EBFE}"/>
          </ac:picMkLst>
        </pc:picChg>
        <pc:picChg chg="del">
          <ac:chgData name="Rebecca Liu 劉依茹" userId="28e4d197-e403-4e73-946f-379830aa94f1" providerId="ADAL" clId="{FA982C32-90E6-49A0-B1C8-E534252F3BB7}" dt="2024-10-15T04:56:00.226" v="1455" actId="478"/>
          <ac:picMkLst>
            <pc:docMk/>
            <pc:sldMk cId="2991120982" sldId="2147482633"/>
            <ac:picMk id="8" creationId="{5F37E547-6207-EF9A-9193-0BC0E94E0B1B}"/>
          </ac:picMkLst>
        </pc:picChg>
      </pc:sldChg>
      <pc:sldChg chg="addSp delSp modSp add mod ord modNotesTx">
        <pc:chgData name="Rebecca Liu 劉依茹" userId="28e4d197-e403-4e73-946f-379830aa94f1" providerId="ADAL" clId="{FA982C32-90E6-49A0-B1C8-E534252F3BB7}" dt="2024-10-16T06:19:52.055" v="2284"/>
        <pc:sldMkLst>
          <pc:docMk/>
          <pc:sldMk cId="3745724923" sldId="2147482634"/>
        </pc:sldMkLst>
        <pc:graphicFrameChg chg="mod">
          <ac:chgData name="Rebecca Liu 劉依茹" userId="28e4d197-e403-4e73-946f-379830aa94f1" providerId="ADAL" clId="{FA982C32-90E6-49A0-B1C8-E534252F3BB7}" dt="2024-10-16T06:19:52.055" v="2284"/>
          <ac:graphicFrameMkLst>
            <pc:docMk/>
            <pc:sldMk cId="3745724923" sldId="2147482634"/>
            <ac:graphicFrameMk id="4" creationId="{8D0FE662-DF36-D867-4D5B-9CAB0AFD4BB5}"/>
          </ac:graphicFrameMkLst>
        </pc:graphicFrameChg>
        <pc:picChg chg="add mod modCrop">
          <ac:chgData name="Rebecca Liu 劉依茹" userId="28e4d197-e403-4e73-946f-379830aa94f1" providerId="ADAL" clId="{FA982C32-90E6-49A0-B1C8-E534252F3BB7}" dt="2024-10-15T05:00:24.880" v="1480" actId="14100"/>
          <ac:picMkLst>
            <pc:docMk/>
            <pc:sldMk cId="3745724923" sldId="2147482634"/>
            <ac:picMk id="5" creationId="{B85226D5-7259-B89D-DE44-D2C3C3DE226B}"/>
          </ac:picMkLst>
        </pc:picChg>
        <pc:picChg chg="del">
          <ac:chgData name="Rebecca Liu 劉依茹" userId="28e4d197-e403-4e73-946f-379830aa94f1" providerId="ADAL" clId="{FA982C32-90E6-49A0-B1C8-E534252F3BB7}" dt="2024-10-15T04:57:15.169" v="1471" actId="478"/>
          <ac:picMkLst>
            <pc:docMk/>
            <pc:sldMk cId="3745724923" sldId="2147482634"/>
            <ac:picMk id="8" creationId="{5F37E547-6207-EF9A-9193-0BC0E94E0B1B}"/>
          </ac:picMkLst>
        </pc:picChg>
      </pc:sldChg>
      <pc:sldChg chg="addSp delSp modSp add mod modNotesTx">
        <pc:chgData name="Rebecca Liu 劉依茹" userId="28e4d197-e403-4e73-946f-379830aa94f1" providerId="ADAL" clId="{FA982C32-90E6-49A0-B1C8-E534252F3BB7}" dt="2024-10-16T03:57:53.392" v="1890"/>
        <pc:sldMkLst>
          <pc:docMk/>
          <pc:sldMk cId="1516837358" sldId="2147482635"/>
        </pc:sldMkLst>
        <pc:graphicFrameChg chg="mod">
          <ac:chgData name="Rebecca Liu 劉依茹" userId="28e4d197-e403-4e73-946f-379830aa94f1" providerId="ADAL" clId="{FA982C32-90E6-49A0-B1C8-E534252F3BB7}" dt="2024-10-15T05:12:53.346" v="1545" actId="20577"/>
          <ac:graphicFrameMkLst>
            <pc:docMk/>
            <pc:sldMk cId="1516837358" sldId="2147482635"/>
            <ac:graphicFrameMk id="4" creationId="{8D0FE662-DF36-D867-4D5B-9CAB0AFD4BB5}"/>
          </ac:graphicFrameMkLst>
        </pc:graphicFrameChg>
        <pc:picChg chg="del">
          <ac:chgData name="Rebecca Liu 劉依茹" userId="28e4d197-e403-4e73-946f-379830aa94f1" providerId="ADAL" clId="{FA982C32-90E6-49A0-B1C8-E534252F3BB7}" dt="2024-10-15T05:07:22.656" v="1488" actId="478"/>
          <ac:picMkLst>
            <pc:docMk/>
            <pc:sldMk cId="1516837358" sldId="2147482635"/>
            <ac:picMk id="5" creationId="{B85226D5-7259-B89D-DE44-D2C3C3DE226B}"/>
          </ac:picMkLst>
        </pc:picChg>
        <pc:picChg chg="add mod modCrop">
          <ac:chgData name="Rebecca Liu 劉依茹" userId="28e4d197-e403-4e73-946f-379830aa94f1" providerId="ADAL" clId="{FA982C32-90E6-49A0-B1C8-E534252F3BB7}" dt="2024-10-15T05:08:01.923" v="1495" actId="14100"/>
          <ac:picMkLst>
            <pc:docMk/>
            <pc:sldMk cId="1516837358" sldId="2147482635"/>
            <ac:picMk id="6" creationId="{20473945-E8D9-6043-1C1E-A0D577BE232A}"/>
          </ac:picMkLst>
        </pc:picChg>
      </pc:sldChg>
      <pc:sldMasterChg chg="delSldLayout">
        <pc:chgData name="Rebecca Liu 劉依茹" userId="28e4d197-e403-4e73-946f-379830aa94f1" providerId="ADAL" clId="{FA982C32-90E6-49A0-B1C8-E534252F3BB7}" dt="2024-10-15T03:20:52.620" v="1124" actId="47"/>
        <pc:sldMasterMkLst>
          <pc:docMk/>
          <pc:sldMasterMk cId="3971860428" sldId="2147483661"/>
        </pc:sldMasterMkLst>
        <pc:sldLayoutChg chg="del">
          <pc:chgData name="Rebecca Liu 劉依茹" userId="28e4d197-e403-4e73-946f-379830aa94f1" providerId="ADAL" clId="{FA982C32-90E6-49A0-B1C8-E534252F3BB7}" dt="2024-10-15T03:20:52.620" v="1124" actId="47"/>
          <pc:sldLayoutMkLst>
            <pc:docMk/>
            <pc:sldMasterMk cId="3971860428" sldId="2147483661"/>
            <pc:sldLayoutMk cId="1023749307" sldId="2147483699"/>
          </pc:sldLayoutMkLst>
        </pc:sldLayoutChg>
      </pc:sldMasterChg>
    </pc:docChg>
  </pc:docChgLst>
  <pc:docChgLst>
    <pc:chgData name="Rebecca Liu 劉依茹" userId="S::rebecca.liu@lotuspharm.com::28e4d197-e403-4e73-946f-379830aa94f1" providerId="AD" clId="Web-{4D216F3A-C4C5-08EF-759C-08E66955BAD6}"/>
    <pc:docChg chg="modSld">
      <pc:chgData name="Rebecca Liu 劉依茹" userId="S::rebecca.liu@lotuspharm.com::28e4d197-e403-4e73-946f-379830aa94f1" providerId="AD" clId="Web-{4D216F3A-C4C5-08EF-759C-08E66955BAD6}" dt="2024-09-23T00:27:02.329" v="0"/>
      <pc:docMkLst>
        <pc:docMk/>
      </pc:docMkLst>
      <pc:sldChg chg="delSp">
        <pc:chgData name="Rebecca Liu 劉依茹" userId="S::rebecca.liu@lotuspharm.com::28e4d197-e403-4e73-946f-379830aa94f1" providerId="AD" clId="Web-{4D216F3A-C4C5-08EF-759C-08E66955BAD6}" dt="2024-09-23T00:27:02.329" v="0"/>
        <pc:sldMkLst>
          <pc:docMk/>
          <pc:sldMk cId="3595987929" sldId="2146848503"/>
        </pc:sldMkLst>
        <pc:spChg chg="del">
          <ac:chgData name="Rebecca Liu 劉依茹" userId="S::rebecca.liu@lotuspharm.com::28e4d197-e403-4e73-946f-379830aa94f1" providerId="AD" clId="Web-{4D216F3A-C4C5-08EF-759C-08E66955BAD6}" dt="2024-09-23T00:27:02.329" v="0"/>
          <ac:spMkLst>
            <pc:docMk/>
            <pc:sldMk cId="3595987929" sldId="2146848503"/>
            <ac:spMk id="6" creationId="{6AEA0B46-2CB1-73AB-2588-41AA5ADFBC88}"/>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06DD77-D100-457E-80C2-BC6944A250C4}" type="doc">
      <dgm:prSet loTypeId="urn:microsoft.com/office/officeart/2005/8/layout/chevronAccent+Icon" loCatId="process" qsTypeId="urn:microsoft.com/office/officeart/2005/8/quickstyle/simple1" qsCatId="simple" csTypeId="urn:microsoft.com/office/officeart/2005/8/colors/colorful2" csCatId="colorful" phldr="1"/>
      <dgm:spPr/>
    </dgm:pt>
    <dgm:pt modelId="{26E6124F-EEBA-471C-A081-FA9DC72C79DB}">
      <dgm:prSet phldrT="[Text]" custT="1"/>
      <dgm:spPr/>
      <dgm:t>
        <a:bodyPr/>
        <a:lstStyle/>
        <a:p>
          <a:r>
            <a:rPr lang="en-US" altLang="zh-TW" sz="1400"/>
            <a:t>Supplier Qualification</a:t>
          </a:r>
          <a:r>
            <a:rPr lang="zh-TW" altLang="en-US" sz="1400"/>
            <a:t> </a:t>
          </a:r>
          <a:endParaRPr lang="en-US" altLang="zh-TW" sz="1400"/>
        </a:p>
        <a:p>
          <a:r>
            <a:rPr lang="zh-TW" altLang="en-US" sz="1400"/>
            <a:t>供應商審查</a:t>
          </a:r>
        </a:p>
      </dgm:t>
    </dgm:pt>
    <dgm:pt modelId="{B67ADB74-8936-4583-B237-5DC50E0E81E8}" type="parTrans" cxnId="{89A4BB93-BC21-462E-A180-1C496EB0C42A}">
      <dgm:prSet/>
      <dgm:spPr/>
      <dgm:t>
        <a:bodyPr/>
        <a:lstStyle/>
        <a:p>
          <a:endParaRPr lang="zh-TW" altLang="en-US"/>
        </a:p>
      </dgm:t>
    </dgm:pt>
    <dgm:pt modelId="{A4F8F0A0-C784-4366-A5F6-36F130878F8B}" type="sibTrans" cxnId="{89A4BB93-BC21-462E-A180-1C496EB0C42A}">
      <dgm:prSet/>
      <dgm:spPr/>
      <dgm:t>
        <a:bodyPr/>
        <a:lstStyle/>
        <a:p>
          <a:endParaRPr lang="zh-TW" altLang="en-US"/>
        </a:p>
      </dgm:t>
    </dgm:pt>
    <dgm:pt modelId="{678E8A29-457C-41D1-A6CE-2D2A7B79FCF1}">
      <dgm:prSet phldrT="[Text]" custT="1"/>
      <dgm:spPr/>
      <dgm:t>
        <a:bodyPr/>
        <a:lstStyle/>
        <a:p>
          <a:r>
            <a:rPr lang="en-US" altLang="zh-TW" sz="1400"/>
            <a:t>QTA / Service agreement</a:t>
          </a:r>
        </a:p>
        <a:p>
          <a:r>
            <a:rPr lang="zh-TW" altLang="en-US" sz="1400"/>
            <a:t>品質</a:t>
          </a:r>
          <a:r>
            <a:rPr lang="en-US" altLang="zh-TW" sz="1400"/>
            <a:t>/</a:t>
          </a:r>
          <a:r>
            <a:rPr lang="zh-TW" altLang="en-US" sz="1400"/>
            <a:t>服務協議</a:t>
          </a:r>
        </a:p>
      </dgm:t>
    </dgm:pt>
    <dgm:pt modelId="{2A1B6D88-7604-4C0B-85C4-7B832FE92F3F}" type="parTrans" cxnId="{2279E0FE-1CF5-4AF0-AD93-F701773C0911}">
      <dgm:prSet/>
      <dgm:spPr/>
      <dgm:t>
        <a:bodyPr/>
        <a:lstStyle/>
        <a:p>
          <a:endParaRPr lang="zh-TW" altLang="en-US"/>
        </a:p>
      </dgm:t>
    </dgm:pt>
    <dgm:pt modelId="{848A90FF-9C31-48E3-A351-37F8E8B41337}" type="sibTrans" cxnId="{2279E0FE-1CF5-4AF0-AD93-F701773C0911}">
      <dgm:prSet/>
      <dgm:spPr/>
      <dgm:t>
        <a:bodyPr/>
        <a:lstStyle/>
        <a:p>
          <a:endParaRPr lang="zh-TW" altLang="en-US"/>
        </a:p>
      </dgm:t>
    </dgm:pt>
    <dgm:pt modelId="{21202366-8D94-4084-8C68-736162025FF5}">
      <dgm:prSet phldrT="[Text]" custT="1"/>
      <dgm:spPr/>
      <dgm:t>
        <a:bodyPr/>
        <a:lstStyle/>
        <a:p>
          <a:r>
            <a:rPr lang="en-US" altLang="zh-TW" sz="1400"/>
            <a:t>Auditing / Visiting</a:t>
          </a:r>
        </a:p>
        <a:p>
          <a:r>
            <a:rPr lang="zh-TW" altLang="en-US" sz="1400"/>
            <a:t>稽核</a:t>
          </a:r>
          <a:r>
            <a:rPr lang="en-US" altLang="zh-TW" sz="1400"/>
            <a:t>/</a:t>
          </a:r>
          <a:r>
            <a:rPr lang="zh-TW" altLang="en-US" sz="1400"/>
            <a:t>拜訪</a:t>
          </a:r>
        </a:p>
      </dgm:t>
    </dgm:pt>
    <dgm:pt modelId="{F8F72A63-EEB8-4204-9B55-E352CBFBA36B}" type="parTrans" cxnId="{A3D751F1-D1B6-4409-8273-01B9321E1DD7}">
      <dgm:prSet/>
      <dgm:spPr/>
      <dgm:t>
        <a:bodyPr/>
        <a:lstStyle/>
        <a:p>
          <a:endParaRPr lang="zh-TW" altLang="en-US"/>
        </a:p>
      </dgm:t>
    </dgm:pt>
    <dgm:pt modelId="{4264C15B-3019-49FD-BBA3-C858901D7C66}" type="sibTrans" cxnId="{A3D751F1-D1B6-4409-8273-01B9321E1DD7}">
      <dgm:prSet/>
      <dgm:spPr/>
      <dgm:t>
        <a:bodyPr/>
        <a:lstStyle/>
        <a:p>
          <a:endParaRPr lang="zh-TW" altLang="en-US"/>
        </a:p>
      </dgm:t>
    </dgm:pt>
    <dgm:pt modelId="{4DD366C4-25F7-4E49-9B6C-581B7F9A38A2}">
      <dgm:prSet custT="1"/>
      <dgm:spPr/>
      <dgm:t>
        <a:bodyPr/>
        <a:lstStyle/>
        <a:p>
          <a:r>
            <a:rPr lang="en-US" altLang="zh-TW" sz="1400"/>
            <a:t>ESG Engagement</a:t>
          </a:r>
        </a:p>
        <a:p>
          <a:r>
            <a:rPr lang="en-US" altLang="zh-TW" sz="1400"/>
            <a:t>ESG</a:t>
          </a:r>
          <a:r>
            <a:rPr lang="zh-TW" altLang="en-US" sz="1400"/>
            <a:t>參與</a:t>
          </a:r>
          <a:r>
            <a:rPr lang="en-US" altLang="zh-TW" sz="1400"/>
            <a:t> </a:t>
          </a:r>
          <a:endParaRPr lang="zh-TW" altLang="en-US" sz="1400"/>
        </a:p>
      </dgm:t>
    </dgm:pt>
    <dgm:pt modelId="{1FACE643-3A4A-4ACE-967F-4386337366A9}" type="parTrans" cxnId="{BD3C3231-B741-481E-B386-A0C14FC008A1}">
      <dgm:prSet/>
      <dgm:spPr/>
      <dgm:t>
        <a:bodyPr/>
        <a:lstStyle/>
        <a:p>
          <a:endParaRPr lang="zh-TW" altLang="en-US"/>
        </a:p>
      </dgm:t>
    </dgm:pt>
    <dgm:pt modelId="{7C63114F-B97C-4D94-BE73-7DDD61F6A722}" type="sibTrans" cxnId="{BD3C3231-B741-481E-B386-A0C14FC008A1}">
      <dgm:prSet/>
      <dgm:spPr/>
      <dgm:t>
        <a:bodyPr/>
        <a:lstStyle/>
        <a:p>
          <a:endParaRPr lang="zh-TW" altLang="en-US"/>
        </a:p>
      </dgm:t>
    </dgm:pt>
    <dgm:pt modelId="{99E97304-0207-401E-8164-301065D763DC}">
      <dgm:prSet custT="1"/>
      <dgm:spPr/>
      <dgm:t>
        <a:bodyPr/>
        <a:lstStyle/>
        <a:p>
          <a:r>
            <a:rPr lang="en-US" altLang="zh-TW" sz="1400"/>
            <a:t>Two ways feedback</a:t>
          </a:r>
        </a:p>
        <a:p>
          <a:r>
            <a:rPr lang="zh-TW" altLang="en-US" sz="1400"/>
            <a:t>雙向溝通</a:t>
          </a:r>
        </a:p>
      </dgm:t>
    </dgm:pt>
    <dgm:pt modelId="{746F4CAC-5D74-4038-AD7C-781B32396D76}" type="parTrans" cxnId="{E4727A24-C26A-4A83-BB81-CB9E5BCB9B85}">
      <dgm:prSet/>
      <dgm:spPr/>
      <dgm:t>
        <a:bodyPr/>
        <a:lstStyle/>
        <a:p>
          <a:endParaRPr lang="zh-TW" altLang="en-US"/>
        </a:p>
      </dgm:t>
    </dgm:pt>
    <dgm:pt modelId="{42D7B4AC-1E4F-40FC-9857-0B16357AFD15}" type="sibTrans" cxnId="{E4727A24-C26A-4A83-BB81-CB9E5BCB9B85}">
      <dgm:prSet/>
      <dgm:spPr/>
      <dgm:t>
        <a:bodyPr/>
        <a:lstStyle/>
        <a:p>
          <a:endParaRPr lang="zh-TW" altLang="en-US"/>
        </a:p>
      </dgm:t>
    </dgm:pt>
    <dgm:pt modelId="{DBBE0C33-1027-4ACC-8DD2-2B8901289735}" type="pres">
      <dgm:prSet presAssocID="{6306DD77-D100-457E-80C2-BC6944A250C4}" presName="Name0" presStyleCnt="0">
        <dgm:presLayoutVars>
          <dgm:dir/>
          <dgm:resizeHandles val="exact"/>
        </dgm:presLayoutVars>
      </dgm:prSet>
      <dgm:spPr/>
    </dgm:pt>
    <dgm:pt modelId="{51A71306-6ED0-4C66-9A92-60171A20D777}" type="pres">
      <dgm:prSet presAssocID="{26E6124F-EEBA-471C-A081-FA9DC72C79DB}" presName="composite" presStyleCnt="0"/>
      <dgm:spPr/>
    </dgm:pt>
    <dgm:pt modelId="{E72A9762-49F8-4BC8-A93D-8E6CD1913A36}" type="pres">
      <dgm:prSet presAssocID="{26E6124F-EEBA-471C-A081-FA9DC72C79DB}" presName="bgChev" presStyleLbl="node1" presStyleIdx="0" presStyleCnt="5"/>
      <dgm:spPr/>
    </dgm:pt>
    <dgm:pt modelId="{C91C6C9E-8282-4C40-8631-33C07551F1BC}" type="pres">
      <dgm:prSet presAssocID="{26E6124F-EEBA-471C-A081-FA9DC72C79DB}" presName="txNode" presStyleLbl="fgAcc1" presStyleIdx="0" presStyleCnt="5">
        <dgm:presLayoutVars>
          <dgm:bulletEnabled val="1"/>
        </dgm:presLayoutVars>
      </dgm:prSet>
      <dgm:spPr/>
    </dgm:pt>
    <dgm:pt modelId="{5B139C06-8387-4B31-A914-ABE789EEE6A2}" type="pres">
      <dgm:prSet presAssocID="{A4F8F0A0-C784-4366-A5F6-36F130878F8B}" presName="compositeSpace" presStyleCnt="0"/>
      <dgm:spPr/>
    </dgm:pt>
    <dgm:pt modelId="{291D264F-6957-437F-92DC-108EC00B2717}" type="pres">
      <dgm:prSet presAssocID="{678E8A29-457C-41D1-A6CE-2D2A7B79FCF1}" presName="composite" presStyleCnt="0"/>
      <dgm:spPr/>
    </dgm:pt>
    <dgm:pt modelId="{796591E8-D865-42C6-B899-511FE44E31A8}" type="pres">
      <dgm:prSet presAssocID="{678E8A29-457C-41D1-A6CE-2D2A7B79FCF1}" presName="bgChev" presStyleLbl="node1" presStyleIdx="1" presStyleCnt="5"/>
      <dgm:spPr/>
    </dgm:pt>
    <dgm:pt modelId="{3F8B5AA8-2498-48AB-9DFC-64AC3673B000}" type="pres">
      <dgm:prSet presAssocID="{678E8A29-457C-41D1-A6CE-2D2A7B79FCF1}" presName="txNode" presStyleLbl="fgAcc1" presStyleIdx="1" presStyleCnt="5">
        <dgm:presLayoutVars>
          <dgm:bulletEnabled val="1"/>
        </dgm:presLayoutVars>
      </dgm:prSet>
      <dgm:spPr/>
    </dgm:pt>
    <dgm:pt modelId="{F082A853-6071-4C9F-8CA2-C08291B5FC95}" type="pres">
      <dgm:prSet presAssocID="{848A90FF-9C31-48E3-A351-37F8E8B41337}" presName="compositeSpace" presStyleCnt="0"/>
      <dgm:spPr/>
    </dgm:pt>
    <dgm:pt modelId="{7E6B8B03-A559-479A-BA7E-088721977211}" type="pres">
      <dgm:prSet presAssocID="{21202366-8D94-4084-8C68-736162025FF5}" presName="composite" presStyleCnt="0"/>
      <dgm:spPr/>
    </dgm:pt>
    <dgm:pt modelId="{450E5C50-2D83-4310-8C86-524456ADE6CE}" type="pres">
      <dgm:prSet presAssocID="{21202366-8D94-4084-8C68-736162025FF5}" presName="bgChev" presStyleLbl="node1" presStyleIdx="2" presStyleCnt="5"/>
      <dgm:spPr/>
    </dgm:pt>
    <dgm:pt modelId="{C7C4F0BB-C9AC-4545-8868-CAF4B3590AF7}" type="pres">
      <dgm:prSet presAssocID="{21202366-8D94-4084-8C68-736162025FF5}" presName="txNode" presStyleLbl="fgAcc1" presStyleIdx="2" presStyleCnt="5">
        <dgm:presLayoutVars>
          <dgm:bulletEnabled val="1"/>
        </dgm:presLayoutVars>
      </dgm:prSet>
      <dgm:spPr/>
    </dgm:pt>
    <dgm:pt modelId="{2114E37C-FECE-4582-86AB-730334FAFAEA}" type="pres">
      <dgm:prSet presAssocID="{4264C15B-3019-49FD-BBA3-C858901D7C66}" presName="compositeSpace" presStyleCnt="0"/>
      <dgm:spPr/>
    </dgm:pt>
    <dgm:pt modelId="{D8EDD471-0B89-405D-AC0E-2330BCD3C9AD}" type="pres">
      <dgm:prSet presAssocID="{4DD366C4-25F7-4E49-9B6C-581B7F9A38A2}" presName="composite" presStyleCnt="0"/>
      <dgm:spPr/>
    </dgm:pt>
    <dgm:pt modelId="{72FD11B9-C89C-4070-8354-E8E06C6210E6}" type="pres">
      <dgm:prSet presAssocID="{4DD366C4-25F7-4E49-9B6C-581B7F9A38A2}" presName="bgChev" presStyleLbl="node1" presStyleIdx="3" presStyleCnt="5"/>
      <dgm:spPr/>
    </dgm:pt>
    <dgm:pt modelId="{36D5F446-495D-40ED-9F80-6F99196FE130}" type="pres">
      <dgm:prSet presAssocID="{4DD366C4-25F7-4E49-9B6C-581B7F9A38A2}" presName="txNode" presStyleLbl="fgAcc1" presStyleIdx="3" presStyleCnt="5">
        <dgm:presLayoutVars>
          <dgm:bulletEnabled val="1"/>
        </dgm:presLayoutVars>
      </dgm:prSet>
      <dgm:spPr/>
    </dgm:pt>
    <dgm:pt modelId="{D54FFA3A-DC9C-47D7-A4BA-29B40B926884}" type="pres">
      <dgm:prSet presAssocID="{7C63114F-B97C-4D94-BE73-7DDD61F6A722}" presName="compositeSpace" presStyleCnt="0"/>
      <dgm:spPr/>
    </dgm:pt>
    <dgm:pt modelId="{672ECB29-DEBC-4328-A3E6-3E219E186274}" type="pres">
      <dgm:prSet presAssocID="{99E97304-0207-401E-8164-301065D763DC}" presName="composite" presStyleCnt="0"/>
      <dgm:spPr/>
    </dgm:pt>
    <dgm:pt modelId="{19EF1439-B0D4-4A91-8370-4D2D0CC04ED1}" type="pres">
      <dgm:prSet presAssocID="{99E97304-0207-401E-8164-301065D763DC}" presName="bgChev" presStyleLbl="node1" presStyleIdx="4" presStyleCnt="5"/>
      <dgm:spPr/>
    </dgm:pt>
    <dgm:pt modelId="{E11320F1-A10E-453C-8F3A-B94ACA9E3CE1}" type="pres">
      <dgm:prSet presAssocID="{99E97304-0207-401E-8164-301065D763DC}" presName="txNode" presStyleLbl="fgAcc1" presStyleIdx="4" presStyleCnt="5">
        <dgm:presLayoutVars>
          <dgm:bulletEnabled val="1"/>
        </dgm:presLayoutVars>
      </dgm:prSet>
      <dgm:spPr/>
    </dgm:pt>
  </dgm:ptLst>
  <dgm:cxnLst>
    <dgm:cxn modelId="{3EFB6C01-6DE8-4296-B65C-2F95A316478D}" type="presOf" srcId="{4DD366C4-25F7-4E49-9B6C-581B7F9A38A2}" destId="{36D5F446-495D-40ED-9F80-6F99196FE130}" srcOrd="0" destOrd="0" presId="urn:microsoft.com/office/officeart/2005/8/layout/chevronAccent+Icon"/>
    <dgm:cxn modelId="{E4727A24-C26A-4A83-BB81-CB9E5BCB9B85}" srcId="{6306DD77-D100-457E-80C2-BC6944A250C4}" destId="{99E97304-0207-401E-8164-301065D763DC}" srcOrd="4" destOrd="0" parTransId="{746F4CAC-5D74-4038-AD7C-781B32396D76}" sibTransId="{42D7B4AC-1E4F-40FC-9857-0B16357AFD15}"/>
    <dgm:cxn modelId="{BD3C3231-B741-481E-B386-A0C14FC008A1}" srcId="{6306DD77-D100-457E-80C2-BC6944A250C4}" destId="{4DD366C4-25F7-4E49-9B6C-581B7F9A38A2}" srcOrd="3" destOrd="0" parTransId="{1FACE643-3A4A-4ACE-967F-4386337366A9}" sibTransId="{7C63114F-B97C-4D94-BE73-7DDD61F6A722}"/>
    <dgm:cxn modelId="{EDD43C44-51DA-4EBF-8FF2-639E3EFDD9BE}" type="presOf" srcId="{99E97304-0207-401E-8164-301065D763DC}" destId="{E11320F1-A10E-453C-8F3A-B94ACA9E3CE1}" srcOrd="0" destOrd="0" presId="urn:microsoft.com/office/officeart/2005/8/layout/chevronAccent+Icon"/>
    <dgm:cxn modelId="{85A6A364-C1ED-4BC2-AB60-B319355EEB2C}" type="presOf" srcId="{6306DD77-D100-457E-80C2-BC6944A250C4}" destId="{DBBE0C33-1027-4ACC-8DD2-2B8901289735}" srcOrd="0" destOrd="0" presId="urn:microsoft.com/office/officeart/2005/8/layout/chevronAccent+Icon"/>
    <dgm:cxn modelId="{5A99C244-B401-47E1-80CA-7FBD31BF897C}" type="presOf" srcId="{26E6124F-EEBA-471C-A081-FA9DC72C79DB}" destId="{C91C6C9E-8282-4C40-8631-33C07551F1BC}" srcOrd="0" destOrd="0" presId="urn:microsoft.com/office/officeart/2005/8/layout/chevronAccent+Icon"/>
    <dgm:cxn modelId="{DDBF466F-8943-4185-A5C4-E11BC9C3984D}" type="presOf" srcId="{678E8A29-457C-41D1-A6CE-2D2A7B79FCF1}" destId="{3F8B5AA8-2498-48AB-9DFC-64AC3673B000}" srcOrd="0" destOrd="0" presId="urn:microsoft.com/office/officeart/2005/8/layout/chevronAccent+Icon"/>
    <dgm:cxn modelId="{89A4BB93-BC21-462E-A180-1C496EB0C42A}" srcId="{6306DD77-D100-457E-80C2-BC6944A250C4}" destId="{26E6124F-EEBA-471C-A081-FA9DC72C79DB}" srcOrd="0" destOrd="0" parTransId="{B67ADB74-8936-4583-B237-5DC50E0E81E8}" sibTransId="{A4F8F0A0-C784-4366-A5F6-36F130878F8B}"/>
    <dgm:cxn modelId="{A3D751F1-D1B6-4409-8273-01B9321E1DD7}" srcId="{6306DD77-D100-457E-80C2-BC6944A250C4}" destId="{21202366-8D94-4084-8C68-736162025FF5}" srcOrd="2" destOrd="0" parTransId="{F8F72A63-EEB8-4204-9B55-E352CBFBA36B}" sibTransId="{4264C15B-3019-49FD-BBA3-C858901D7C66}"/>
    <dgm:cxn modelId="{2366C6F8-9278-416D-8DA0-E7A3E96049A1}" type="presOf" srcId="{21202366-8D94-4084-8C68-736162025FF5}" destId="{C7C4F0BB-C9AC-4545-8868-CAF4B3590AF7}" srcOrd="0" destOrd="0" presId="urn:microsoft.com/office/officeart/2005/8/layout/chevronAccent+Icon"/>
    <dgm:cxn modelId="{2279E0FE-1CF5-4AF0-AD93-F701773C0911}" srcId="{6306DD77-D100-457E-80C2-BC6944A250C4}" destId="{678E8A29-457C-41D1-A6CE-2D2A7B79FCF1}" srcOrd="1" destOrd="0" parTransId="{2A1B6D88-7604-4C0B-85C4-7B832FE92F3F}" sibTransId="{848A90FF-9C31-48E3-A351-37F8E8B41337}"/>
    <dgm:cxn modelId="{A9510BF1-6B88-4CFD-9ED6-5040B101D2C8}" type="presParOf" srcId="{DBBE0C33-1027-4ACC-8DD2-2B8901289735}" destId="{51A71306-6ED0-4C66-9A92-60171A20D777}" srcOrd="0" destOrd="0" presId="urn:microsoft.com/office/officeart/2005/8/layout/chevronAccent+Icon"/>
    <dgm:cxn modelId="{F1E8ECB2-DC2B-4F13-ABD1-E666B7F37CE2}" type="presParOf" srcId="{51A71306-6ED0-4C66-9A92-60171A20D777}" destId="{E72A9762-49F8-4BC8-A93D-8E6CD1913A36}" srcOrd="0" destOrd="0" presId="urn:microsoft.com/office/officeart/2005/8/layout/chevronAccent+Icon"/>
    <dgm:cxn modelId="{54494442-F470-4AC7-8D13-6C9B4DD0656B}" type="presParOf" srcId="{51A71306-6ED0-4C66-9A92-60171A20D777}" destId="{C91C6C9E-8282-4C40-8631-33C07551F1BC}" srcOrd="1" destOrd="0" presId="urn:microsoft.com/office/officeart/2005/8/layout/chevronAccent+Icon"/>
    <dgm:cxn modelId="{44B8CF45-FF41-400B-A0B7-B36AA5AC31A7}" type="presParOf" srcId="{DBBE0C33-1027-4ACC-8DD2-2B8901289735}" destId="{5B139C06-8387-4B31-A914-ABE789EEE6A2}" srcOrd="1" destOrd="0" presId="urn:microsoft.com/office/officeart/2005/8/layout/chevronAccent+Icon"/>
    <dgm:cxn modelId="{5C829A08-9298-4F88-88AE-FD5073E029BB}" type="presParOf" srcId="{DBBE0C33-1027-4ACC-8DD2-2B8901289735}" destId="{291D264F-6957-437F-92DC-108EC00B2717}" srcOrd="2" destOrd="0" presId="urn:microsoft.com/office/officeart/2005/8/layout/chevronAccent+Icon"/>
    <dgm:cxn modelId="{3294B149-E581-480E-82C5-864A68926737}" type="presParOf" srcId="{291D264F-6957-437F-92DC-108EC00B2717}" destId="{796591E8-D865-42C6-B899-511FE44E31A8}" srcOrd="0" destOrd="0" presId="urn:microsoft.com/office/officeart/2005/8/layout/chevronAccent+Icon"/>
    <dgm:cxn modelId="{38B09F45-8F0D-4B01-921C-A4039623C8F1}" type="presParOf" srcId="{291D264F-6957-437F-92DC-108EC00B2717}" destId="{3F8B5AA8-2498-48AB-9DFC-64AC3673B000}" srcOrd="1" destOrd="0" presId="urn:microsoft.com/office/officeart/2005/8/layout/chevronAccent+Icon"/>
    <dgm:cxn modelId="{35D1B6B4-9FD5-4230-BF20-BF2531C06033}" type="presParOf" srcId="{DBBE0C33-1027-4ACC-8DD2-2B8901289735}" destId="{F082A853-6071-4C9F-8CA2-C08291B5FC95}" srcOrd="3" destOrd="0" presId="urn:microsoft.com/office/officeart/2005/8/layout/chevronAccent+Icon"/>
    <dgm:cxn modelId="{D031C933-D0E8-4121-942A-0DE6F92D5755}" type="presParOf" srcId="{DBBE0C33-1027-4ACC-8DD2-2B8901289735}" destId="{7E6B8B03-A559-479A-BA7E-088721977211}" srcOrd="4" destOrd="0" presId="urn:microsoft.com/office/officeart/2005/8/layout/chevronAccent+Icon"/>
    <dgm:cxn modelId="{716B4518-4166-4B98-9036-58D31A4BE316}" type="presParOf" srcId="{7E6B8B03-A559-479A-BA7E-088721977211}" destId="{450E5C50-2D83-4310-8C86-524456ADE6CE}" srcOrd="0" destOrd="0" presId="urn:microsoft.com/office/officeart/2005/8/layout/chevronAccent+Icon"/>
    <dgm:cxn modelId="{619AF7F3-93FF-4907-97DB-5816D4E91C77}" type="presParOf" srcId="{7E6B8B03-A559-479A-BA7E-088721977211}" destId="{C7C4F0BB-C9AC-4545-8868-CAF4B3590AF7}" srcOrd="1" destOrd="0" presId="urn:microsoft.com/office/officeart/2005/8/layout/chevronAccent+Icon"/>
    <dgm:cxn modelId="{5B311264-EAF7-4D24-9E8A-54135646B464}" type="presParOf" srcId="{DBBE0C33-1027-4ACC-8DD2-2B8901289735}" destId="{2114E37C-FECE-4582-86AB-730334FAFAEA}" srcOrd="5" destOrd="0" presId="urn:microsoft.com/office/officeart/2005/8/layout/chevronAccent+Icon"/>
    <dgm:cxn modelId="{890F2B32-DF1E-4936-97C4-B7DE1C93D55C}" type="presParOf" srcId="{DBBE0C33-1027-4ACC-8DD2-2B8901289735}" destId="{D8EDD471-0B89-405D-AC0E-2330BCD3C9AD}" srcOrd="6" destOrd="0" presId="urn:microsoft.com/office/officeart/2005/8/layout/chevronAccent+Icon"/>
    <dgm:cxn modelId="{C750857C-0A26-4CF6-9FE7-B59A9F6183D7}" type="presParOf" srcId="{D8EDD471-0B89-405D-AC0E-2330BCD3C9AD}" destId="{72FD11B9-C89C-4070-8354-E8E06C6210E6}" srcOrd="0" destOrd="0" presId="urn:microsoft.com/office/officeart/2005/8/layout/chevronAccent+Icon"/>
    <dgm:cxn modelId="{EBE4C090-447B-41CC-B76D-5BF0B3708028}" type="presParOf" srcId="{D8EDD471-0B89-405D-AC0E-2330BCD3C9AD}" destId="{36D5F446-495D-40ED-9F80-6F99196FE130}" srcOrd="1" destOrd="0" presId="urn:microsoft.com/office/officeart/2005/8/layout/chevronAccent+Icon"/>
    <dgm:cxn modelId="{55778DAD-197E-4D76-A9EC-E6B18607C03E}" type="presParOf" srcId="{DBBE0C33-1027-4ACC-8DD2-2B8901289735}" destId="{D54FFA3A-DC9C-47D7-A4BA-29B40B926884}" srcOrd="7" destOrd="0" presId="urn:microsoft.com/office/officeart/2005/8/layout/chevronAccent+Icon"/>
    <dgm:cxn modelId="{B178BB83-D96C-4812-95BB-BC42BF02D63A}" type="presParOf" srcId="{DBBE0C33-1027-4ACC-8DD2-2B8901289735}" destId="{672ECB29-DEBC-4328-A3E6-3E219E186274}" srcOrd="8" destOrd="0" presId="urn:microsoft.com/office/officeart/2005/8/layout/chevronAccent+Icon"/>
    <dgm:cxn modelId="{5A280DFF-4B8A-48B4-BD9F-DEA42A1C6F49}" type="presParOf" srcId="{672ECB29-DEBC-4328-A3E6-3E219E186274}" destId="{19EF1439-B0D4-4A91-8370-4D2D0CC04ED1}" srcOrd="0" destOrd="0" presId="urn:microsoft.com/office/officeart/2005/8/layout/chevronAccent+Icon"/>
    <dgm:cxn modelId="{90D0C93B-159B-44CC-BA7C-26EDEA576AA5}" type="presParOf" srcId="{672ECB29-DEBC-4328-A3E6-3E219E186274}" destId="{E11320F1-A10E-453C-8F3A-B94ACA9E3CE1}" srcOrd="1" destOrd="0" presId="urn:microsoft.com/office/officeart/2005/8/layout/chevronAccent+Icon"/>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06DD77-D100-457E-80C2-BC6944A250C4}" type="doc">
      <dgm:prSet loTypeId="urn:microsoft.com/office/officeart/2005/8/layout/chevronAccent+Icon" loCatId="process" qsTypeId="urn:microsoft.com/office/officeart/2005/8/quickstyle/simple1" qsCatId="simple" csTypeId="urn:microsoft.com/office/officeart/2005/8/colors/colorful2" csCatId="colorful" phldr="1"/>
      <dgm:spPr/>
    </dgm:pt>
    <dgm:pt modelId="{26E6124F-EEBA-471C-A081-FA9DC72C79DB}">
      <dgm:prSet phldrT="[Text]"/>
      <dgm:spPr/>
      <dgm:t>
        <a:bodyPr/>
        <a:lstStyle/>
        <a:p>
          <a:r>
            <a:rPr lang="en-US" altLang="zh-TW"/>
            <a:t>KSM / Raw materials</a:t>
          </a:r>
          <a:endParaRPr lang="zh-TW" altLang="en-US"/>
        </a:p>
      </dgm:t>
    </dgm:pt>
    <dgm:pt modelId="{B67ADB74-8936-4583-B237-5DC50E0E81E8}" type="parTrans" cxnId="{89A4BB93-BC21-462E-A180-1C496EB0C42A}">
      <dgm:prSet/>
      <dgm:spPr/>
      <dgm:t>
        <a:bodyPr/>
        <a:lstStyle/>
        <a:p>
          <a:endParaRPr lang="zh-TW" altLang="en-US"/>
        </a:p>
      </dgm:t>
    </dgm:pt>
    <dgm:pt modelId="{A4F8F0A0-C784-4366-A5F6-36F130878F8B}" type="sibTrans" cxnId="{89A4BB93-BC21-462E-A180-1C496EB0C42A}">
      <dgm:prSet/>
      <dgm:spPr/>
      <dgm:t>
        <a:bodyPr/>
        <a:lstStyle/>
        <a:p>
          <a:endParaRPr lang="zh-TW" altLang="en-US"/>
        </a:p>
      </dgm:t>
    </dgm:pt>
    <dgm:pt modelId="{DBBE0C33-1027-4ACC-8DD2-2B8901289735}" type="pres">
      <dgm:prSet presAssocID="{6306DD77-D100-457E-80C2-BC6944A250C4}" presName="Name0" presStyleCnt="0">
        <dgm:presLayoutVars>
          <dgm:dir/>
          <dgm:resizeHandles val="exact"/>
        </dgm:presLayoutVars>
      </dgm:prSet>
      <dgm:spPr/>
    </dgm:pt>
    <dgm:pt modelId="{51A71306-6ED0-4C66-9A92-60171A20D777}" type="pres">
      <dgm:prSet presAssocID="{26E6124F-EEBA-471C-A081-FA9DC72C79DB}" presName="composite" presStyleCnt="0"/>
      <dgm:spPr/>
    </dgm:pt>
    <dgm:pt modelId="{E72A9762-49F8-4BC8-A93D-8E6CD1913A36}" type="pres">
      <dgm:prSet presAssocID="{26E6124F-EEBA-471C-A081-FA9DC72C79DB}" presName="bgChev" presStyleLbl="node1" presStyleIdx="0" presStyleCnt="1"/>
      <dgm:spPr>
        <a:solidFill>
          <a:schemeClr val="tx2"/>
        </a:solidFill>
      </dgm:spPr>
    </dgm:pt>
    <dgm:pt modelId="{C91C6C9E-8282-4C40-8631-33C07551F1BC}" type="pres">
      <dgm:prSet presAssocID="{26E6124F-EEBA-471C-A081-FA9DC72C79DB}" presName="txNode" presStyleLbl="fgAcc1" presStyleIdx="0" presStyleCnt="1">
        <dgm:presLayoutVars>
          <dgm:bulletEnabled val="1"/>
        </dgm:presLayoutVars>
      </dgm:prSet>
      <dgm:spPr/>
    </dgm:pt>
  </dgm:ptLst>
  <dgm:cxnLst>
    <dgm:cxn modelId="{85A6A364-C1ED-4BC2-AB60-B319355EEB2C}" type="presOf" srcId="{6306DD77-D100-457E-80C2-BC6944A250C4}" destId="{DBBE0C33-1027-4ACC-8DD2-2B8901289735}" srcOrd="0" destOrd="0" presId="urn:microsoft.com/office/officeart/2005/8/layout/chevronAccent+Icon"/>
    <dgm:cxn modelId="{5A99C244-B401-47E1-80CA-7FBD31BF897C}" type="presOf" srcId="{26E6124F-EEBA-471C-A081-FA9DC72C79DB}" destId="{C91C6C9E-8282-4C40-8631-33C07551F1BC}" srcOrd="0" destOrd="0" presId="urn:microsoft.com/office/officeart/2005/8/layout/chevronAccent+Icon"/>
    <dgm:cxn modelId="{89A4BB93-BC21-462E-A180-1C496EB0C42A}" srcId="{6306DD77-D100-457E-80C2-BC6944A250C4}" destId="{26E6124F-EEBA-471C-A081-FA9DC72C79DB}" srcOrd="0" destOrd="0" parTransId="{B67ADB74-8936-4583-B237-5DC50E0E81E8}" sibTransId="{A4F8F0A0-C784-4366-A5F6-36F130878F8B}"/>
    <dgm:cxn modelId="{A9510BF1-6B88-4CFD-9ED6-5040B101D2C8}" type="presParOf" srcId="{DBBE0C33-1027-4ACC-8DD2-2B8901289735}" destId="{51A71306-6ED0-4C66-9A92-60171A20D777}" srcOrd="0" destOrd="0" presId="urn:microsoft.com/office/officeart/2005/8/layout/chevronAccent+Icon"/>
    <dgm:cxn modelId="{F1E8ECB2-DC2B-4F13-ABD1-E666B7F37CE2}" type="presParOf" srcId="{51A71306-6ED0-4C66-9A92-60171A20D777}" destId="{E72A9762-49F8-4BC8-A93D-8E6CD1913A36}" srcOrd="0" destOrd="0" presId="urn:microsoft.com/office/officeart/2005/8/layout/chevronAccent+Icon"/>
    <dgm:cxn modelId="{54494442-F470-4AC7-8D13-6C9B4DD0656B}" type="presParOf" srcId="{51A71306-6ED0-4C66-9A92-60171A20D777}" destId="{C91C6C9E-8282-4C40-8631-33C07551F1BC}" srcOrd="1" destOrd="0" presId="urn:microsoft.com/office/officeart/2005/8/layout/chevronAccent+Icon"/>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06DD77-D100-457E-80C2-BC6944A250C4}" type="doc">
      <dgm:prSet loTypeId="urn:microsoft.com/office/officeart/2005/8/layout/chevronAccent+Icon" loCatId="process" qsTypeId="urn:microsoft.com/office/officeart/2005/8/quickstyle/simple1" qsCatId="simple" csTypeId="urn:microsoft.com/office/officeart/2005/8/colors/colorful2" csCatId="colorful" phldr="1"/>
      <dgm:spPr/>
    </dgm:pt>
    <dgm:pt modelId="{26E6124F-EEBA-471C-A081-FA9DC72C79DB}">
      <dgm:prSet phldrT="[Text]" custT="1"/>
      <dgm:spPr/>
      <dgm:t>
        <a:bodyPr/>
        <a:lstStyle/>
        <a:p>
          <a:r>
            <a:rPr lang="en-US" altLang="zh-TW" sz="1400"/>
            <a:t>4 PL/ Transportation/ Distributor</a:t>
          </a:r>
          <a:endParaRPr lang="zh-TW" altLang="en-US" sz="1400"/>
        </a:p>
      </dgm:t>
    </dgm:pt>
    <dgm:pt modelId="{B67ADB74-8936-4583-B237-5DC50E0E81E8}" type="parTrans" cxnId="{89A4BB93-BC21-462E-A180-1C496EB0C42A}">
      <dgm:prSet/>
      <dgm:spPr/>
      <dgm:t>
        <a:bodyPr/>
        <a:lstStyle/>
        <a:p>
          <a:endParaRPr lang="zh-TW" altLang="en-US"/>
        </a:p>
      </dgm:t>
    </dgm:pt>
    <dgm:pt modelId="{A4F8F0A0-C784-4366-A5F6-36F130878F8B}" type="sibTrans" cxnId="{89A4BB93-BC21-462E-A180-1C496EB0C42A}">
      <dgm:prSet/>
      <dgm:spPr/>
      <dgm:t>
        <a:bodyPr/>
        <a:lstStyle/>
        <a:p>
          <a:endParaRPr lang="zh-TW" altLang="en-US"/>
        </a:p>
      </dgm:t>
    </dgm:pt>
    <dgm:pt modelId="{DBBE0C33-1027-4ACC-8DD2-2B8901289735}" type="pres">
      <dgm:prSet presAssocID="{6306DD77-D100-457E-80C2-BC6944A250C4}" presName="Name0" presStyleCnt="0">
        <dgm:presLayoutVars>
          <dgm:dir/>
          <dgm:resizeHandles val="exact"/>
        </dgm:presLayoutVars>
      </dgm:prSet>
      <dgm:spPr/>
    </dgm:pt>
    <dgm:pt modelId="{51A71306-6ED0-4C66-9A92-60171A20D777}" type="pres">
      <dgm:prSet presAssocID="{26E6124F-EEBA-471C-A081-FA9DC72C79DB}" presName="composite" presStyleCnt="0"/>
      <dgm:spPr/>
    </dgm:pt>
    <dgm:pt modelId="{E72A9762-49F8-4BC8-A93D-8E6CD1913A36}" type="pres">
      <dgm:prSet presAssocID="{26E6124F-EEBA-471C-A081-FA9DC72C79DB}" presName="bgChev" presStyleLbl="node1" presStyleIdx="0" presStyleCnt="1"/>
      <dgm:spPr>
        <a:solidFill>
          <a:srgbClr val="92D050"/>
        </a:solidFill>
      </dgm:spPr>
    </dgm:pt>
    <dgm:pt modelId="{C91C6C9E-8282-4C40-8631-33C07551F1BC}" type="pres">
      <dgm:prSet presAssocID="{26E6124F-EEBA-471C-A081-FA9DC72C79DB}" presName="txNode" presStyleLbl="fgAcc1" presStyleIdx="0" presStyleCnt="1">
        <dgm:presLayoutVars>
          <dgm:bulletEnabled val="1"/>
        </dgm:presLayoutVars>
      </dgm:prSet>
      <dgm:spPr/>
    </dgm:pt>
  </dgm:ptLst>
  <dgm:cxnLst>
    <dgm:cxn modelId="{85A6A364-C1ED-4BC2-AB60-B319355EEB2C}" type="presOf" srcId="{6306DD77-D100-457E-80C2-BC6944A250C4}" destId="{DBBE0C33-1027-4ACC-8DD2-2B8901289735}" srcOrd="0" destOrd="0" presId="urn:microsoft.com/office/officeart/2005/8/layout/chevronAccent+Icon"/>
    <dgm:cxn modelId="{5A99C244-B401-47E1-80CA-7FBD31BF897C}" type="presOf" srcId="{26E6124F-EEBA-471C-A081-FA9DC72C79DB}" destId="{C91C6C9E-8282-4C40-8631-33C07551F1BC}" srcOrd="0" destOrd="0" presId="urn:microsoft.com/office/officeart/2005/8/layout/chevronAccent+Icon"/>
    <dgm:cxn modelId="{89A4BB93-BC21-462E-A180-1C496EB0C42A}" srcId="{6306DD77-D100-457E-80C2-BC6944A250C4}" destId="{26E6124F-EEBA-471C-A081-FA9DC72C79DB}" srcOrd="0" destOrd="0" parTransId="{B67ADB74-8936-4583-B237-5DC50E0E81E8}" sibTransId="{A4F8F0A0-C784-4366-A5F6-36F130878F8B}"/>
    <dgm:cxn modelId="{A9510BF1-6B88-4CFD-9ED6-5040B101D2C8}" type="presParOf" srcId="{DBBE0C33-1027-4ACC-8DD2-2B8901289735}" destId="{51A71306-6ED0-4C66-9A92-60171A20D777}" srcOrd="0" destOrd="0" presId="urn:microsoft.com/office/officeart/2005/8/layout/chevronAccent+Icon"/>
    <dgm:cxn modelId="{F1E8ECB2-DC2B-4F13-ABD1-E666B7F37CE2}" type="presParOf" srcId="{51A71306-6ED0-4C66-9A92-60171A20D777}" destId="{E72A9762-49F8-4BC8-A93D-8E6CD1913A36}" srcOrd="0" destOrd="0" presId="urn:microsoft.com/office/officeart/2005/8/layout/chevronAccent+Icon"/>
    <dgm:cxn modelId="{54494442-F470-4AC7-8D13-6C9B4DD0656B}" type="presParOf" srcId="{51A71306-6ED0-4C66-9A92-60171A20D777}" destId="{C91C6C9E-8282-4C40-8631-33C07551F1BC}" srcOrd="1" destOrd="0" presId="urn:microsoft.com/office/officeart/2005/8/layout/chevronAccent+Icon"/>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8C40028-ACC6-445E-B15C-D8F02DA34414}"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zh-TW" altLang="en-US"/>
        </a:p>
      </dgm:t>
    </dgm:pt>
    <dgm:pt modelId="{88826C61-8CB6-4722-AC01-7854B9E88706}">
      <dgm:prSet phldrT="[文字]"/>
      <dgm:spPr/>
      <dgm:t>
        <a:bodyPr/>
        <a:lstStyle/>
        <a:p>
          <a:r>
            <a:rPr lang="zh-TW" altLang="en-US" dirty="0"/>
            <a:t>供應商管理</a:t>
          </a:r>
          <a:r>
            <a:rPr lang="en-US" altLang="zh-TW" dirty="0"/>
            <a:t>Supplier Management Program</a:t>
          </a:r>
          <a:endParaRPr lang="zh-TW" altLang="en-US" dirty="0"/>
        </a:p>
      </dgm:t>
    </dgm:pt>
    <dgm:pt modelId="{FAED3414-F153-4F28-A0FA-6B0CBA4AB661}" type="parTrans" cxnId="{205D4AC2-7D08-4576-9176-C25A8EECA018}">
      <dgm:prSet/>
      <dgm:spPr/>
      <dgm:t>
        <a:bodyPr/>
        <a:lstStyle/>
        <a:p>
          <a:endParaRPr lang="zh-TW" altLang="en-US"/>
        </a:p>
      </dgm:t>
    </dgm:pt>
    <dgm:pt modelId="{12C149C6-3CB6-4B13-98AD-41D757F260C6}" type="sibTrans" cxnId="{205D4AC2-7D08-4576-9176-C25A8EECA018}">
      <dgm:prSet/>
      <dgm:spPr/>
      <dgm:t>
        <a:bodyPr/>
        <a:lstStyle/>
        <a:p>
          <a:endParaRPr lang="zh-TW" altLang="en-US"/>
        </a:p>
      </dgm:t>
    </dgm:pt>
    <dgm:pt modelId="{C67CDB75-0791-44BF-A01F-5FAF3E998269}">
      <dgm:prSet phldrT="[文字]"/>
      <dgm:spPr>
        <a:solidFill>
          <a:srgbClr val="00B0F0">
            <a:alpha val="50000"/>
          </a:srgbClr>
        </a:solidFill>
      </dgm:spPr>
      <dgm:t>
        <a:bodyPr/>
        <a:lstStyle/>
        <a:p>
          <a:r>
            <a:rPr lang="zh-TW" altLang="en-US"/>
            <a:t>供應商鑑別</a:t>
          </a:r>
        </a:p>
      </dgm:t>
    </dgm:pt>
    <dgm:pt modelId="{3DFF4A3D-241C-45DA-BE42-65DCC195BE45}" type="parTrans" cxnId="{9E29DC1F-F06C-4F61-ADEC-F2E6CB58DD84}">
      <dgm:prSet/>
      <dgm:spPr/>
      <dgm:t>
        <a:bodyPr/>
        <a:lstStyle/>
        <a:p>
          <a:endParaRPr lang="zh-TW" altLang="en-US"/>
        </a:p>
      </dgm:t>
    </dgm:pt>
    <dgm:pt modelId="{CF0C5B51-0C8C-42C3-B54D-469587163F95}" type="sibTrans" cxnId="{9E29DC1F-F06C-4F61-ADEC-F2E6CB58DD84}">
      <dgm:prSet/>
      <dgm:spPr/>
      <dgm:t>
        <a:bodyPr/>
        <a:lstStyle/>
        <a:p>
          <a:endParaRPr lang="zh-TW" altLang="en-US"/>
        </a:p>
      </dgm:t>
    </dgm:pt>
    <dgm:pt modelId="{B3E2897F-C08C-45B6-A064-4476729A69D5}">
      <dgm:prSet phldrT="[文字]"/>
      <dgm:spPr/>
      <dgm:t>
        <a:bodyPr/>
        <a:lstStyle/>
        <a:p>
          <a:r>
            <a:rPr lang="zh-TW" altLang="en-US"/>
            <a:t>管理流程及方法</a:t>
          </a:r>
        </a:p>
      </dgm:t>
    </dgm:pt>
    <dgm:pt modelId="{EAA0BF0F-2E83-4E44-9529-F7F3E9081DD5}" type="parTrans" cxnId="{6CF2CA9F-24AA-4078-A625-92E050E3BE82}">
      <dgm:prSet/>
      <dgm:spPr/>
      <dgm:t>
        <a:bodyPr/>
        <a:lstStyle/>
        <a:p>
          <a:endParaRPr lang="zh-TW" altLang="en-US"/>
        </a:p>
      </dgm:t>
    </dgm:pt>
    <dgm:pt modelId="{6A9839DA-FE51-4728-8505-1D6A3AD496DE}" type="sibTrans" cxnId="{6CF2CA9F-24AA-4078-A625-92E050E3BE82}">
      <dgm:prSet/>
      <dgm:spPr/>
      <dgm:t>
        <a:bodyPr/>
        <a:lstStyle/>
        <a:p>
          <a:endParaRPr lang="zh-TW" altLang="en-US"/>
        </a:p>
      </dgm:t>
    </dgm:pt>
    <dgm:pt modelId="{250D59A4-1D5A-43AC-996C-CE883D1DCE9C}">
      <dgm:prSet phldrT="[文字]"/>
      <dgm:spPr/>
      <dgm:t>
        <a:bodyPr/>
        <a:lstStyle/>
        <a:p>
          <a:r>
            <a:rPr lang="zh-TW" altLang="en-US"/>
            <a:t>供應商評鑑</a:t>
          </a:r>
        </a:p>
      </dgm:t>
    </dgm:pt>
    <dgm:pt modelId="{42507C7E-294A-41E8-BF66-35E2393CE6FA}" type="parTrans" cxnId="{58C17449-1598-400C-9D84-C087ECD99ED5}">
      <dgm:prSet/>
      <dgm:spPr/>
      <dgm:t>
        <a:bodyPr/>
        <a:lstStyle/>
        <a:p>
          <a:endParaRPr lang="zh-TW" altLang="en-US"/>
        </a:p>
      </dgm:t>
    </dgm:pt>
    <dgm:pt modelId="{4BB461A6-AC7F-4403-AB0F-72F3AFDD5E7A}" type="sibTrans" cxnId="{58C17449-1598-400C-9D84-C087ECD99ED5}">
      <dgm:prSet/>
      <dgm:spPr/>
      <dgm:t>
        <a:bodyPr/>
        <a:lstStyle/>
        <a:p>
          <a:endParaRPr lang="zh-TW" altLang="en-US"/>
        </a:p>
      </dgm:t>
    </dgm:pt>
    <dgm:pt modelId="{994BF903-B3C7-42A4-B4AF-C1D2D05CBABD}">
      <dgm:prSet phldrT="[文字]"/>
      <dgm:spPr/>
      <dgm:t>
        <a:bodyPr/>
        <a:lstStyle/>
        <a:p>
          <a:r>
            <a:rPr lang="zh-TW" altLang="en-US"/>
            <a:t>新供應商篩選</a:t>
          </a:r>
        </a:p>
      </dgm:t>
    </dgm:pt>
    <dgm:pt modelId="{D85353B7-944D-4437-A4BA-A6D314CDEB41}" type="parTrans" cxnId="{1E92FA40-9F0F-4B2F-96C6-3E8CB89CEDE1}">
      <dgm:prSet/>
      <dgm:spPr/>
      <dgm:t>
        <a:bodyPr/>
        <a:lstStyle/>
        <a:p>
          <a:endParaRPr lang="zh-TW" altLang="en-US"/>
        </a:p>
      </dgm:t>
    </dgm:pt>
    <dgm:pt modelId="{33120DC8-DAA8-402E-B173-D13EAABBE698}" type="sibTrans" cxnId="{1E92FA40-9F0F-4B2F-96C6-3E8CB89CEDE1}">
      <dgm:prSet/>
      <dgm:spPr/>
      <dgm:t>
        <a:bodyPr/>
        <a:lstStyle/>
        <a:p>
          <a:endParaRPr lang="zh-TW" altLang="en-US"/>
        </a:p>
      </dgm:t>
    </dgm:pt>
    <dgm:pt modelId="{C9644B96-02A5-4E43-9B9D-9A2AB6F373C9}">
      <dgm:prSet phldrT="[文字]"/>
      <dgm:spPr/>
      <dgm:t>
        <a:bodyPr/>
        <a:lstStyle/>
        <a:p>
          <a:r>
            <a:rPr lang="zh-TW" altLang="en-US"/>
            <a:t>供應商風險評估</a:t>
          </a:r>
        </a:p>
      </dgm:t>
    </dgm:pt>
    <dgm:pt modelId="{A91CF516-EBEB-465C-BD16-3D8204E870F1}" type="parTrans" cxnId="{D73D0C45-48AD-4776-916E-1F8E54F9FC95}">
      <dgm:prSet/>
      <dgm:spPr/>
      <dgm:t>
        <a:bodyPr/>
        <a:lstStyle/>
        <a:p>
          <a:endParaRPr lang="zh-TW" altLang="en-US"/>
        </a:p>
      </dgm:t>
    </dgm:pt>
    <dgm:pt modelId="{EE028798-00B9-430C-A7B4-9BEDD366F38B}" type="sibTrans" cxnId="{D73D0C45-48AD-4776-916E-1F8E54F9FC95}">
      <dgm:prSet/>
      <dgm:spPr/>
      <dgm:t>
        <a:bodyPr/>
        <a:lstStyle/>
        <a:p>
          <a:endParaRPr lang="zh-TW" altLang="en-US"/>
        </a:p>
      </dgm:t>
    </dgm:pt>
    <dgm:pt modelId="{C6539B25-F1F9-4601-BF7A-63F1F5BEB667}" type="pres">
      <dgm:prSet presAssocID="{18C40028-ACC6-445E-B15C-D8F02DA34414}" presName="composite" presStyleCnt="0">
        <dgm:presLayoutVars>
          <dgm:chMax val="1"/>
          <dgm:dir/>
          <dgm:resizeHandles val="exact"/>
        </dgm:presLayoutVars>
      </dgm:prSet>
      <dgm:spPr/>
    </dgm:pt>
    <dgm:pt modelId="{4D5BBEAF-10E4-49ED-A511-8B682BAF8451}" type="pres">
      <dgm:prSet presAssocID="{18C40028-ACC6-445E-B15C-D8F02DA34414}" presName="radial" presStyleCnt="0">
        <dgm:presLayoutVars>
          <dgm:animLvl val="ctr"/>
        </dgm:presLayoutVars>
      </dgm:prSet>
      <dgm:spPr/>
    </dgm:pt>
    <dgm:pt modelId="{46FADECC-FFFE-4649-B597-71141896A723}" type="pres">
      <dgm:prSet presAssocID="{88826C61-8CB6-4722-AC01-7854B9E88706}" presName="centerShape" presStyleLbl="vennNode1" presStyleIdx="0" presStyleCnt="6"/>
      <dgm:spPr/>
    </dgm:pt>
    <dgm:pt modelId="{6544119B-9898-4E92-A881-3C5A5EDCABB4}" type="pres">
      <dgm:prSet presAssocID="{C67CDB75-0791-44BF-A01F-5FAF3E998269}" presName="node" presStyleLbl="vennNode1" presStyleIdx="1" presStyleCnt="6">
        <dgm:presLayoutVars>
          <dgm:bulletEnabled val="1"/>
        </dgm:presLayoutVars>
      </dgm:prSet>
      <dgm:spPr/>
    </dgm:pt>
    <dgm:pt modelId="{D7EB4FD3-EBC6-4ED8-A4CF-EC65A30814E2}" type="pres">
      <dgm:prSet presAssocID="{B3E2897F-C08C-45B6-A064-4476729A69D5}" presName="node" presStyleLbl="vennNode1" presStyleIdx="2" presStyleCnt="6">
        <dgm:presLayoutVars>
          <dgm:bulletEnabled val="1"/>
        </dgm:presLayoutVars>
      </dgm:prSet>
      <dgm:spPr/>
    </dgm:pt>
    <dgm:pt modelId="{D73E7993-A23B-40BC-841C-34E163C466DA}" type="pres">
      <dgm:prSet presAssocID="{C9644B96-02A5-4E43-9B9D-9A2AB6F373C9}" presName="node" presStyleLbl="vennNode1" presStyleIdx="3" presStyleCnt="6">
        <dgm:presLayoutVars>
          <dgm:bulletEnabled val="1"/>
        </dgm:presLayoutVars>
      </dgm:prSet>
      <dgm:spPr/>
    </dgm:pt>
    <dgm:pt modelId="{07E31676-4FA3-4A87-BC47-8E73AEEFB3E8}" type="pres">
      <dgm:prSet presAssocID="{250D59A4-1D5A-43AC-996C-CE883D1DCE9C}" presName="node" presStyleLbl="vennNode1" presStyleIdx="4" presStyleCnt="6">
        <dgm:presLayoutVars>
          <dgm:bulletEnabled val="1"/>
        </dgm:presLayoutVars>
      </dgm:prSet>
      <dgm:spPr/>
    </dgm:pt>
    <dgm:pt modelId="{41FABAD9-800C-44DC-BF14-7F6A4E991E33}" type="pres">
      <dgm:prSet presAssocID="{994BF903-B3C7-42A4-B4AF-C1D2D05CBABD}" presName="node" presStyleLbl="vennNode1" presStyleIdx="5" presStyleCnt="6">
        <dgm:presLayoutVars>
          <dgm:bulletEnabled val="1"/>
        </dgm:presLayoutVars>
      </dgm:prSet>
      <dgm:spPr/>
    </dgm:pt>
  </dgm:ptLst>
  <dgm:cxnLst>
    <dgm:cxn modelId="{9E29DC1F-F06C-4F61-ADEC-F2E6CB58DD84}" srcId="{88826C61-8CB6-4722-AC01-7854B9E88706}" destId="{C67CDB75-0791-44BF-A01F-5FAF3E998269}" srcOrd="0" destOrd="0" parTransId="{3DFF4A3D-241C-45DA-BE42-65DCC195BE45}" sibTransId="{CF0C5B51-0C8C-42C3-B54D-469587163F95}"/>
    <dgm:cxn modelId="{7EDCA12E-42A6-4EEF-AE2D-C42676C78373}" type="presOf" srcId="{18C40028-ACC6-445E-B15C-D8F02DA34414}" destId="{C6539B25-F1F9-4601-BF7A-63F1F5BEB667}" srcOrd="0" destOrd="0" presId="urn:microsoft.com/office/officeart/2005/8/layout/radial3"/>
    <dgm:cxn modelId="{1E92FA40-9F0F-4B2F-96C6-3E8CB89CEDE1}" srcId="{88826C61-8CB6-4722-AC01-7854B9E88706}" destId="{994BF903-B3C7-42A4-B4AF-C1D2D05CBABD}" srcOrd="4" destOrd="0" parTransId="{D85353B7-944D-4437-A4BA-A6D314CDEB41}" sibTransId="{33120DC8-DAA8-402E-B173-D13EAABBE698}"/>
    <dgm:cxn modelId="{36A94063-28AE-4E48-B6A8-D43952E0869B}" type="presOf" srcId="{C67CDB75-0791-44BF-A01F-5FAF3E998269}" destId="{6544119B-9898-4E92-A881-3C5A5EDCABB4}" srcOrd="0" destOrd="0" presId="urn:microsoft.com/office/officeart/2005/8/layout/radial3"/>
    <dgm:cxn modelId="{64545044-EFE8-43DD-9AB7-13B9149BE36B}" type="presOf" srcId="{C9644B96-02A5-4E43-9B9D-9A2AB6F373C9}" destId="{D73E7993-A23B-40BC-841C-34E163C466DA}" srcOrd="0" destOrd="0" presId="urn:microsoft.com/office/officeart/2005/8/layout/radial3"/>
    <dgm:cxn modelId="{D73D0C45-48AD-4776-916E-1F8E54F9FC95}" srcId="{88826C61-8CB6-4722-AC01-7854B9E88706}" destId="{C9644B96-02A5-4E43-9B9D-9A2AB6F373C9}" srcOrd="2" destOrd="0" parTransId="{A91CF516-EBEB-465C-BD16-3D8204E870F1}" sibTransId="{EE028798-00B9-430C-A7B4-9BEDD366F38B}"/>
    <dgm:cxn modelId="{58C17449-1598-400C-9D84-C087ECD99ED5}" srcId="{88826C61-8CB6-4722-AC01-7854B9E88706}" destId="{250D59A4-1D5A-43AC-996C-CE883D1DCE9C}" srcOrd="3" destOrd="0" parTransId="{42507C7E-294A-41E8-BF66-35E2393CE6FA}" sibTransId="{4BB461A6-AC7F-4403-AB0F-72F3AFDD5E7A}"/>
    <dgm:cxn modelId="{9FF6AC82-D24B-4CD2-A630-A6BF0224DC17}" type="presOf" srcId="{250D59A4-1D5A-43AC-996C-CE883D1DCE9C}" destId="{07E31676-4FA3-4A87-BC47-8E73AEEFB3E8}" srcOrd="0" destOrd="0" presId="urn:microsoft.com/office/officeart/2005/8/layout/radial3"/>
    <dgm:cxn modelId="{6CF2CA9F-24AA-4078-A625-92E050E3BE82}" srcId="{88826C61-8CB6-4722-AC01-7854B9E88706}" destId="{B3E2897F-C08C-45B6-A064-4476729A69D5}" srcOrd="1" destOrd="0" parTransId="{EAA0BF0F-2E83-4E44-9529-F7F3E9081DD5}" sibTransId="{6A9839DA-FE51-4728-8505-1D6A3AD496DE}"/>
    <dgm:cxn modelId="{4F72D5A3-9430-441A-8D5E-6CA8ADCBD5D1}" type="presOf" srcId="{994BF903-B3C7-42A4-B4AF-C1D2D05CBABD}" destId="{41FABAD9-800C-44DC-BF14-7F6A4E991E33}" srcOrd="0" destOrd="0" presId="urn:microsoft.com/office/officeart/2005/8/layout/radial3"/>
    <dgm:cxn modelId="{C54BF2AA-3BA2-4B52-871C-8DC35FB7BF78}" type="presOf" srcId="{B3E2897F-C08C-45B6-A064-4476729A69D5}" destId="{D7EB4FD3-EBC6-4ED8-A4CF-EC65A30814E2}" srcOrd="0" destOrd="0" presId="urn:microsoft.com/office/officeart/2005/8/layout/radial3"/>
    <dgm:cxn modelId="{205D4AC2-7D08-4576-9176-C25A8EECA018}" srcId="{18C40028-ACC6-445E-B15C-D8F02DA34414}" destId="{88826C61-8CB6-4722-AC01-7854B9E88706}" srcOrd="0" destOrd="0" parTransId="{FAED3414-F153-4F28-A0FA-6B0CBA4AB661}" sibTransId="{12C149C6-3CB6-4B13-98AD-41D757F260C6}"/>
    <dgm:cxn modelId="{77395FC7-D440-4D08-A7D6-04401A62D20D}" type="presOf" srcId="{88826C61-8CB6-4722-AC01-7854B9E88706}" destId="{46FADECC-FFFE-4649-B597-71141896A723}" srcOrd="0" destOrd="0" presId="urn:microsoft.com/office/officeart/2005/8/layout/radial3"/>
    <dgm:cxn modelId="{1F62D530-99BB-4A35-B043-BC73AEF9A1CA}" type="presParOf" srcId="{C6539B25-F1F9-4601-BF7A-63F1F5BEB667}" destId="{4D5BBEAF-10E4-49ED-A511-8B682BAF8451}" srcOrd="0" destOrd="0" presId="urn:microsoft.com/office/officeart/2005/8/layout/radial3"/>
    <dgm:cxn modelId="{25C6844D-3C8C-4932-B870-78315B9FDB9F}" type="presParOf" srcId="{4D5BBEAF-10E4-49ED-A511-8B682BAF8451}" destId="{46FADECC-FFFE-4649-B597-71141896A723}" srcOrd="0" destOrd="0" presId="urn:microsoft.com/office/officeart/2005/8/layout/radial3"/>
    <dgm:cxn modelId="{6124F396-0093-4E98-8CD6-2B23A40DB77D}" type="presParOf" srcId="{4D5BBEAF-10E4-49ED-A511-8B682BAF8451}" destId="{6544119B-9898-4E92-A881-3C5A5EDCABB4}" srcOrd="1" destOrd="0" presId="urn:microsoft.com/office/officeart/2005/8/layout/radial3"/>
    <dgm:cxn modelId="{5EE1B701-4185-4799-AD0E-08C226F49AAA}" type="presParOf" srcId="{4D5BBEAF-10E4-49ED-A511-8B682BAF8451}" destId="{D7EB4FD3-EBC6-4ED8-A4CF-EC65A30814E2}" srcOrd="2" destOrd="0" presId="urn:microsoft.com/office/officeart/2005/8/layout/radial3"/>
    <dgm:cxn modelId="{CBCE9DB8-31EF-427B-91BA-C829C1A46954}" type="presParOf" srcId="{4D5BBEAF-10E4-49ED-A511-8B682BAF8451}" destId="{D73E7993-A23B-40BC-841C-34E163C466DA}" srcOrd="3" destOrd="0" presId="urn:microsoft.com/office/officeart/2005/8/layout/radial3"/>
    <dgm:cxn modelId="{7B3BF23D-9714-463C-A5EB-A9416A9A80EF}" type="presParOf" srcId="{4D5BBEAF-10E4-49ED-A511-8B682BAF8451}" destId="{07E31676-4FA3-4A87-BC47-8E73AEEFB3E8}" srcOrd="4" destOrd="0" presId="urn:microsoft.com/office/officeart/2005/8/layout/radial3"/>
    <dgm:cxn modelId="{607FEB13-AFD2-4286-95FB-30B8BCA6796C}" type="presParOf" srcId="{4D5BBEAF-10E4-49ED-A511-8B682BAF8451}" destId="{41FABAD9-800C-44DC-BF14-7F6A4E991E33}" srcOrd="5"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8C40028-ACC6-445E-B15C-D8F02DA34414}"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zh-TW" altLang="en-US"/>
        </a:p>
      </dgm:t>
    </dgm:pt>
    <dgm:pt modelId="{88826C61-8CB6-4722-AC01-7854B9E88706}">
      <dgm:prSet phldrT="[文字]"/>
      <dgm:spPr/>
      <dgm:t>
        <a:bodyPr/>
        <a:lstStyle/>
        <a:p>
          <a:r>
            <a:rPr lang="zh-TW" altLang="en-US" dirty="0"/>
            <a:t>供應商管理</a:t>
          </a:r>
          <a:r>
            <a:rPr lang="en-US" altLang="zh-TW" dirty="0"/>
            <a:t>Supplier Management Program</a:t>
          </a:r>
          <a:endParaRPr lang="zh-TW" altLang="en-US" dirty="0"/>
        </a:p>
      </dgm:t>
    </dgm:pt>
    <dgm:pt modelId="{FAED3414-F153-4F28-A0FA-6B0CBA4AB661}" type="parTrans" cxnId="{205D4AC2-7D08-4576-9176-C25A8EECA018}">
      <dgm:prSet/>
      <dgm:spPr/>
      <dgm:t>
        <a:bodyPr/>
        <a:lstStyle/>
        <a:p>
          <a:endParaRPr lang="zh-TW" altLang="en-US"/>
        </a:p>
      </dgm:t>
    </dgm:pt>
    <dgm:pt modelId="{12C149C6-3CB6-4B13-98AD-41D757F260C6}" type="sibTrans" cxnId="{205D4AC2-7D08-4576-9176-C25A8EECA018}">
      <dgm:prSet/>
      <dgm:spPr/>
      <dgm:t>
        <a:bodyPr/>
        <a:lstStyle/>
        <a:p>
          <a:endParaRPr lang="zh-TW" altLang="en-US"/>
        </a:p>
      </dgm:t>
    </dgm:pt>
    <dgm:pt modelId="{C67CDB75-0791-44BF-A01F-5FAF3E998269}">
      <dgm:prSet phldrT="[文字]"/>
      <dgm:spPr/>
      <dgm:t>
        <a:bodyPr/>
        <a:lstStyle/>
        <a:p>
          <a:r>
            <a:rPr lang="zh-TW" altLang="en-US"/>
            <a:t>供應商鑑別</a:t>
          </a:r>
        </a:p>
      </dgm:t>
    </dgm:pt>
    <dgm:pt modelId="{3DFF4A3D-241C-45DA-BE42-65DCC195BE45}" type="parTrans" cxnId="{9E29DC1F-F06C-4F61-ADEC-F2E6CB58DD84}">
      <dgm:prSet/>
      <dgm:spPr/>
      <dgm:t>
        <a:bodyPr/>
        <a:lstStyle/>
        <a:p>
          <a:endParaRPr lang="zh-TW" altLang="en-US"/>
        </a:p>
      </dgm:t>
    </dgm:pt>
    <dgm:pt modelId="{CF0C5B51-0C8C-42C3-B54D-469587163F95}" type="sibTrans" cxnId="{9E29DC1F-F06C-4F61-ADEC-F2E6CB58DD84}">
      <dgm:prSet/>
      <dgm:spPr/>
      <dgm:t>
        <a:bodyPr/>
        <a:lstStyle/>
        <a:p>
          <a:endParaRPr lang="zh-TW" altLang="en-US"/>
        </a:p>
      </dgm:t>
    </dgm:pt>
    <dgm:pt modelId="{B3E2897F-C08C-45B6-A064-4476729A69D5}">
      <dgm:prSet phldrT="[文字]"/>
      <dgm:spPr>
        <a:solidFill>
          <a:srgbClr val="00B0F0">
            <a:alpha val="50000"/>
          </a:srgbClr>
        </a:solidFill>
      </dgm:spPr>
      <dgm:t>
        <a:bodyPr/>
        <a:lstStyle/>
        <a:p>
          <a:r>
            <a:rPr lang="zh-TW" altLang="en-US"/>
            <a:t>管理流程及方法</a:t>
          </a:r>
        </a:p>
      </dgm:t>
    </dgm:pt>
    <dgm:pt modelId="{EAA0BF0F-2E83-4E44-9529-F7F3E9081DD5}" type="parTrans" cxnId="{6CF2CA9F-24AA-4078-A625-92E050E3BE82}">
      <dgm:prSet/>
      <dgm:spPr/>
      <dgm:t>
        <a:bodyPr/>
        <a:lstStyle/>
        <a:p>
          <a:endParaRPr lang="zh-TW" altLang="en-US"/>
        </a:p>
      </dgm:t>
    </dgm:pt>
    <dgm:pt modelId="{6A9839DA-FE51-4728-8505-1D6A3AD496DE}" type="sibTrans" cxnId="{6CF2CA9F-24AA-4078-A625-92E050E3BE82}">
      <dgm:prSet/>
      <dgm:spPr/>
      <dgm:t>
        <a:bodyPr/>
        <a:lstStyle/>
        <a:p>
          <a:endParaRPr lang="zh-TW" altLang="en-US"/>
        </a:p>
      </dgm:t>
    </dgm:pt>
    <dgm:pt modelId="{250D59A4-1D5A-43AC-996C-CE883D1DCE9C}">
      <dgm:prSet phldrT="[文字]"/>
      <dgm:spPr/>
      <dgm:t>
        <a:bodyPr/>
        <a:lstStyle/>
        <a:p>
          <a:r>
            <a:rPr lang="zh-TW" altLang="en-US"/>
            <a:t>供應商評鑑</a:t>
          </a:r>
        </a:p>
      </dgm:t>
    </dgm:pt>
    <dgm:pt modelId="{42507C7E-294A-41E8-BF66-35E2393CE6FA}" type="parTrans" cxnId="{58C17449-1598-400C-9D84-C087ECD99ED5}">
      <dgm:prSet/>
      <dgm:spPr/>
      <dgm:t>
        <a:bodyPr/>
        <a:lstStyle/>
        <a:p>
          <a:endParaRPr lang="zh-TW" altLang="en-US"/>
        </a:p>
      </dgm:t>
    </dgm:pt>
    <dgm:pt modelId="{4BB461A6-AC7F-4403-AB0F-72F3AFDD5E7A}" type="sibTrans" cxnId="{58C17449-1598-400C-9D84-C087ECD99ED5}">
      <dgm:prSet/>
      <dgm:spPr/>
      <dgm:t>
        <a:bodyPr/>
        <a:lstStyle/>
        <a:p>
          <a:endParaRPr lang="zh-TW" altLang="en-US"/>
        </a:p>
      </dgm:t>
    </dgm:pt>
    <dgm:pt modelId="{994BF903-B3C7-42A4-B4AF-C1D2D05CBABD}">
      <dgm:prSet phldrT="[文字]"/>
      <dgm:spPr/>
      <dgm:t>
        <a:bodyPr/>
        <a:lstStyle/>
        <a:p>
          <a:r>
            <a:rPr lang="zh-TW" altLang="en-US"/>
            <a:t>新供應商篩選</a:t>
          </a:r>
        </a:p>
      </dgm:t>
    </dgm:pt>
    <dgm:pt modelId="{D85353B7-944D-4437-A4BA-A6D314CDEB41}" type="parTrans" cxnId="{1E92FA40-9F0F-4B2F-96C6-3E8CB89CEDE1}">
      <dgm:prSet/>
      <dgm:spPr/>
      <dgm:t>
        <a:bodyPr/>
        <a:lstStyle/>
        <a:p>
          <a:endParaRPr lang="zh-TW" altLang="en-US"/>
        </a:p>
      </dgm:t>
    </dgm:pt>
    <dgm:pt modelId="{33120DC8-DAA8-402E-B173-D13EAABBE698}" type="sibTrans" cxnId="{1E92FA40-9F0F-4B2F-96C6-3E8CB89CEDE1}">
      <dgm:prSet/>
      <dgm:spPr/>
      <dgm:t>
        <a:bodyPr/>
        <a:lstStyle/>
        <a:p>
          <a:endParaRPr lang="zh-TW" altLang="en-US"/>
        </a:p>
      </dgm:t>
    </dgm:pt>
    <dgm:pt modelId="{C9644B96-02A5-4E43-9B9D-9A2AB6F373C9}">
      <dgm:prSet phldrT="[文字]"/>
      <dgm:spPr/>
      <dgm:t>
        <a:bodyPr/>
        <a:lstStyle/>
        <a:p>
          <a:r>
            <a:rPr lang="zh-TW" altLang="en-US"/>
            <a:t>供應商風險評估</a:t>
          </a:r>
        </a:p>
      </dgm:t>
    </dgm:pt>
    <dgm:pt modelId="{A91CF516-EBEB-465C-BD16-3D8204E870F1}" type="parTrans" cxnId="{D73D0C45-48AD-4776-916E-1F8E54F9FC95}">
      <dgm:prSet/>
      <dgm:spPr/>
      <dgm:t>
        <a:bodyPr/>
        <a:lstStyle/>
        <a:p>
          <a:endParaRPr lang="zh-TW" altLang="en-US"/>
        </a:p>
      </dgm:t>
    </dgm:pt>
    <dgm:pt modelId="{EE028798-00B9-430C-A7B4-9BEDD366F38B}" type="sibTrans" cxnId="{D73D0C45-48AD-4776-916E-1F8E54F9FC95}">
      <dgm:prSet/>
      <dgm:spPr/>
      <dgm:t>
        <a:bodyPr/>
        <a:lstStyle/>
        <a:p>
          <a:endParaRPr lang="zh-TW" altLang="en-US"/>
        </a:p>
      </dgm:t>
    </dgm:pt>
    <dgm:pt modelId="{C6539B25-F1F9-4601-BF7A-63F1F5BEB667}" type="pres">
      <dgm:prSet presAssocID="{18C40028-ACC6-445E-B15C-D8F02DA34414}" presName="composite" presStyleCnt="0">
        <dgm:presLayoutVars>
          <dgm:chMax val="1"/>
          <dgm:dir/>
          <dgm:resizeHandles val="exact"/>
        </dgm:presLayoutVars>
      </dgm:prSet>
      <dgm:spPr/>
    </dgm:pt>
    <dgm:pt modelId="{4D5BBEAF-10E4-49ED-A511-8B682BAF8451}" type="pres">
      <dgm:prSet presAssocID="{18C40028-ACC6-445E-B15C-D8F02DA34414}" presName="radial" presStyleCnt="0">
        <dgm:presLayoutVars>
          <dgm:animLvl val="ctr"/>
        </dgm:presLayoutVars>
      </dgm:prSet>
      <dgm:spPr/>
    </dgm:pt>
    <dgm:pt modelId="{46FADECC-FFFE-4649-B597-71141896A723}" type="pres">
      <dgm:prSet presAssocID="{88826C61-8CB6-4722-AC01-7854B9E88706}" presName="centerShape" presStyleLbl="vennNode1" presStyleIdx="0" presStyleCnt="6"/>
      <dgm:spPr/>
    </dgm:pt>
    <dgm:pt modelId="{6544119B-9898-4E92-A881-3C5A5EDCABB4}" type="pres">
      <dgm:prSet presAssocID="{C67CDB75-0791-44BF-A01F-5FAF3E998269}" presName="node" presStyleLbl="vennNode1" presStyleIdx="1" presStyleCnt="6">
        <dgm:presLayoutVars>
          <dgm:bulletEnabled val="1"/>
        </dgm:presLayoutVars>
      </dgm:prSet>
      <dgm:spPr/>
    </dgm:pt>
    <dgm:pt modelId="{D7EB4FD3-EBC6-4ED8-A4CF-EC65A30814E2}" type="pres">
      <dgm:prSet presAssocID="{B3E2897F-C08C-45B6-A064-4476729A69D5}" presName="node" presStyleLbl="vennNode1" presStyleIdx="2" presStyleCnt="6">
        <dgm:presLayoutVars>
          <dgm:bulletEnabled val="1"/>
        </dgm:presLayoutVars>
      </dgm:prSet>
      <dgm:spPr/>
    </dgm:pt>
    <dgm:pt modelId="{D73E7993-A23B-40BC-841C-34E163C466DA}" type="pres">
      <dgm:prSet presAssocID="{C9644B96-02A5-4E43-9B9D-9A2AB6F373C9}" presName="node" presStyleLbl="vennNode1" presStyleIdx="3" presStyleCnt="6">
        <dgm:presLayoutVars>
          <dgm:bulletEnabled val="1"/>
        </dgm:presLayoutVars>
      </dgm:prSet>
      <dgm:spPr/>
    </dgm:pt>
    <dgm:pt modelId="{07E31676-4FA3-4A87-BC47-8E73AEEFB3E8}" type="pres">
      <dgm:prSet presAssocID="{250D59A4-1D5A-43AC-996C-CE883D1DCE9C}" presName="node" presStyleLbl="vennNode1" presStyleIdx="4" presStyleCnt="6">
        <dgm:presLayoutVars>
          <dgm:bulletEnabled val="1"/>
        </dgm:presLayoutVars>
      </dgm:prSet>
      <dgm:spPr/>
    </dgm:pt>
    <dgm:pt modelId="{41FABAD9-800C-44DC-BF14-7F6A4E991E33}" type="pres">
      <dgm:prSet presAssocID="{994BF903-B3C7-42A4-B4AF-C1D2D05CBABD}" presName="node" presStyleLbl="vennNode1" presStyleIdx="5" presStyleCnt="6">
        <dgm:presLayoutVars>
          <dgm:bulletEnabled val="1"/>
        </dgm:presLayoutVars>
      </dgm:prSet>
      <dgm:spPr/>
    </dgm:pt>
  </dgm:ptLst>
  <dgm:cxnLst>
    <dgm:cxn modelId="{9E29DC1F-F06C-4F61-ADEC-F2E6CB58DD84}" srcId="{88826C61-8CB6-4722-AC01-7854B9E88706}" destId="{C67CDB75-0791-44BF-A01F-5FAF3E998269}" srcOrd="0" destOrd="0" parTransId="{3DFF4A3D-241C-45DA-BE42-65DCC195BE45}" sibTransId="{CF0C5B51-0C8C-42C3-B54D-469587163F95}"/>
    <dgm:cxn modelId="{7EDCA12E-42A6-4EEF-AE2D-C42676C78373}" type="presOf" srcId="{18C40028-ACC6-445E-B15C-D8F02DA34414}" destId="{C6539B25-F1F9-4601-BF7A-63F1F5BEB667}" srcOrd="0" destOrd="0" presId="urn:microsoft.com/office/officeart/2005/8/layout/radial3"/>
    <dgm:cxn modelId="{1E92FA40-9F0F-4B2F-96C6-3E8CB89CEDE1}" srcId="{88826C61-8CB6-4722-AC01-7854B9E88706}" destId="{994BF903-B3C7-42A4-B4AF-C1D2D05CBABD}" srcOrd="4" destOrd="0" parTransId="{D85353B7-944D-4437-A4BA-A6D314CDEB41}" sibTransId="{33120DC8-DAA8-402E-B173-D13EAABBE698}"/>
    <dgm:cxn modelId="{36A94063-28AE-4E48-B6A8-D43952E0869B}" type="presOf" srcId="{C67CDB75-0791-44BF-A01F-5FAF3E998269}" destId="{6544119B-9898-4E92-A881-3C5A5EDCABB4}" srcOrd="0" destOrd="0" presId="urn:microsoft.com/office/officeart/2005/8/layout/radial3"/>
    <dgm:cxn modelId="{64545044-EFE8-43DD-9AB7-13B9149BE36B}" type="presOf" srcId="{C9644B96-02A5-4E43-9B9D-9A2AB6F373C9}" destId="{D73E7993-A23B-40BC-841C-34E163C466DA}" srcOrd="0" destOrd="0" presId="urn:microsoft.com/office/officeart/2005/8/layout/radial3"/>
    <dgm:cxn modelId="{D73D0C45-48AD-4776-916E-1F8E54F9FC95}" srcId="{88826C61-8CB6-4722-AC01-7854B9E88706}" destId="{C9644B96-02A5-4E43-9B9D-9A2AB6F373C9}" srcOrd="2" destOrd="0" parTransId="{A91CF516-EBEB-465C-BD16-3D8204E870F1}" sibTransId="{EE028798-00B9-430C-A7B4-9BEDD366F38B}"/>
    <dgm:cxn modelId="{58C17449-1598-400C-9D84-C087ECD99ED5}" srcId="{88826C61-8CB6-4722-AC01-7854B9E88706}" destId="{250D59A4-1D5A-43AC-996C-CE883D1DCE9C}" srcOrd="3" destOrd="0" parTransId="{42507C7E-294A-41E8-BF66-35E2393CE6FA}" sibTransId="{4BB461A6-AC7F-4403-AB0F-72F3AFDD5E7A}"/>
    <dgm:cxn modelId="{9FF6AC82-D24B-4CD2-A630-A6BF0224DC17}" type="presOf" srcId="{250D59A4-1D5A-43AC-996C-CE883D1DCE9C}" destId="{07E31676-4FA3-4A87-BC47-8E73AEEFB3E8}" srcOrd="0" destOrd="0" presId="urn:microsoft.com/office/officeart/2005/8/layout/radial3"/>
    <dgm:cxn modelId="{6CF2CA9F-24AA-4078-A625-92E050E3BE82}" srcId="{88826C61-8CB6-4722-AC01-7854B9E88706}" destId="{B3E2897F-C08C-45B6-A064-4476729A69D5}" srcOrd="1" destOrd="0" parTransId="{EAA0BF0F-2E83-4E44-9529-F7F3E9081DD5}" sibTransId="{6A9839DA-FE51-4728-8505-1D6A3AD496DE}"/>
    <dgm:cxn modelId="{4F72D5A3-9430-441A-8D5E-6CA8ADCBD5D1}" type="presOf" srcId="{994BF903-B3C7-42A4-B4AF-C1D2D05CBABD}" destId="{41FABAD9-800C-44DC-BF14-7F6A4E991E33}" srcOrd="0" destOrd="0" presId="urn:microsoft.com/office/officeart/2005/8/layout/radial3"/>
    <dgm:cxn modelId="{C54BF2AA-3BA2-4B52-871C-8DC35FB7BF78}" type="presOf" srcId="{B3E2897F-C08C-45B6-A064-4476729A69D5}" destId="{D7EB4FD3-EBC6-4ED8-A4CF-EC65A30814E2}" srcOrd="0" destOrd="0" presId="urn:microsoft.com/office/officeart/2005/8/layout/radial3"/>
    <dgm:cxn modelId="{205D4AC2-7D08-4576-9176-C25A8EECA018}" srcId="{18C40028-ACC6-445E-B15C-D8F02DA34414}" destId="{88826C61-8CB6-4722-AC01-7854B9E88706}" srcOrd="0" destOrd="0" parTransId="{FAED3414-F153-4F28-A0FA-6B0CBA4AB661}" sibTransId="{12C149C6-3CB6-4B13-98AD-41D757F260C6}"/>
    <dgm:cxn modelId="{77395FC7-D440-4D08-A7D6-04401A62D20D}" type="presOf" srcId="{88826C61-8CB6-4722-AC01-7854B9E88706}" destId="{46FADECC-FFFE-4649-B597-71141896A723}" srcOrd="0" destOrd="0" presId="urn:microsoft.com/office/officeart/2005/8/layout/radial3"/>
    <dgm:cxn modelId="{1F62D530-99BB-4A35-B043-BC73AEF9A1CA}" type="presParOf" srcId="{C6539B25-F1F9-4601-BF7A-63F1F5BEB667}" destId="{4D5BBEAF-10E4-49ED-A511-8B682BAF8451}" srcOrd="0" destOrd="0" presId="urn:microsoft.com/office/officeart/2005/8/layout/radial3"/>
    <dgm:cxn modelId="{25C6844D-3C8C-4932-B870-78315B9FDB9F}" type="presParOf" srcId="{4D5BBEAF-10E4-49ED-A511-8B682BAF8451}" destId="{46FADECC-FFFE-4649-B597-71141896A723}" srcOrd="0" destOrd="0" presId="urn:microsoft.com/office/officeart/2005/8/layout/radial3"/>
    <dgm:cxn modelId="{6124F396-0093-4E98-8CD6-2B23A40DB77D}" type="presParOf" srcId="{4D5BBEAF-10E4-49ED-A511-8B682BAF8451}" destId="{6544119B-9898-4E92-A881-3C5A5EDCABB4}" srcOrd="1" destOrd="0" presId="urn:microsoft.com/office/officeart/2005/8/layout/radial3"/>
    <dgm:cxn modelId="{5EE1B701-4185-4799-AD0E-08C226F49AAA}" type="presParOf" srcId="{4D5BBEAF-10E4-49ED-A511-8B682BAF8451}" destId="{D7EB4FD3-EBC6-4ED8-A4CF-EC65A30814E2}" srcOrd="2" destOrd="0" presId="urn:microsoft.com/office/officeart/2005/8/layout/radial3"/>
    <dgm:cxn modelId="{CBCE9DB8-31EF-427B-91BA-C829C1A46954}" type="presParOf" srcId="{4D5BBEAF-10E4-49ED-A511-8B682BAF8451}" destId="{D73E7993-A23B-40BC-841C-34E163C466DA}" srcOrd="3" destOrd="0" presId="urn:microsoft.com/office/officeart/2005/8/layout/radial3"/>
    <dgm:cxn modelId="{7B3BF23D-9714-463C-A5EB-A9416A9A80EF}" type="presParOf" srcId="{4D5BBEAF-10E4-49ED-A511-8B682BAF8451}" destId="{07E31676-4FA3-4A87-BC47-8E73AEEFB3E8}" srcOrd="4" destOrd="0" presId="urn:microsoft.com/office/officeart/2005/8/layout/radial3"/>
    <dgm:cxn modelId="{607FEB13-AFD2-4286-95FB-30B8BCA6796C}" type="presParOf" srcId="{4D5BBEAF-10E4-49ED-A511-8B682BAF8451}" destId="{41FABAD9-800C-44DC-BF14-7F6A4E991E33}" srcOrd="5"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8C40028-ACC6-445E-B15C-D8F02DA34414}"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zh-TW" altLang="en-US"/>
        </a:p>
      </dgm:t>
    </dgm:pt>
    <dgm:pt modelId="{88826C61-8CB6-4722-AC01-7854B9E88706}">
      <dgm:prSet phldrT="[文字]"/>
      <dgm:spPr/>
      <dgm:t>
        <a:bodyPr/>
        <a:lstStyle/>
        <a:p>
          <a:r>
            <a:rPr lang="zh-TW" altLang="en-US" dirty="0"/>
            <a:t>供應商管理</a:t>
          </a:r>
          <a:r>
            <a:rPr lang="en-US" altLang="zh-TW" dirty="0"/>
            <a:t>Supplier Management Program</a:t>
          </a:r>
          <a:endParaRPr lang="zh-TW" altLang="en-US" dirty="0"/>
        </a:p>
      </dgm:t>
    </dgm:pt>
    <dgm:pt modelId="{FAED3414-F153-4F28-A0FA-6B0CBA4AB661}" type="parTrans" cxnId="{205D4AC2-7D08-4576-9176-C25A8EECA018}">
      <dgm:prSet/>
      <dgm:spPr/>
      <dgm:t>
        <a:bodyPr/>
        <a:lstStyle/>
        <a:p>
          <a:endParaRPr lang="zh-TW" altLang="en-US"/>
        </a:p>
      </dgm:t>
    </dgm:pt>
    <dgm:pt modelId="{12C149C6-3CB6-4B13-98AD-41D757F260C6}" type="sibTrans" cxnId="{205D4AC2-7D08-4576-9176-C25A8EECA018}">
      <dgm:prSet/>
      <dgm:spPr/>
      <dgm:t>
        <a:bodyPr/>
        <a:lstStyle/>
        <a:p>
          <a:endParaRPr lang="zh-TW" altLang="en-US"/>
        </a:p>
      </dgm:t>
    </dgm:pt>
    <dgm:pt modelId="{C67CDB75-0791-44BF-A01F-5FAF3E998269}">
      <dgm:prSet phldrT="[文字]"/>
      <dgm:spPr/>
      <dgm:t>
        <a:bodyPr/>
        <a:lstStyle/>
        <a:p>
          <a:r>
            <a:rPr lang="zh-TW" altLang="en-US"/>
            <a:t>供應商鑑別</a:t>
          </a:r>
        </a:p>
      </dgm:t>
    </dgm:pt>
    <dgm:pt modelId="{3DFF4A3D-241C-45DA-BE42-65DCC195BE45}" type="parTrans" cxnId="{9E29DC1F-F06C-4F61-ADEC-F2E6CB58DD84}">
      <dgm:prSet/>
      <dgm:spPr/>
      <dgm:t>
        <a:bodyPr/>
        <a:lstStyle/>
        <a:p>
          <a:endParaRPr lang="zh-TW" altLang="en-US"/>
        </a:p>
      </dgm:t>
    </dgm:pt>
    <dgm:pt modelId="{CF0C5B51-0C8C-42C3-B54D-469587163F95}" type="sibTrans" cxnId="{9E29DC1F-F06C-4F61-ADEC-F2E6CB58DD84}">
      <dgm:prSet/>
      <dgm:spPr/>
      <dgm:t>
        <a:bodyPr/>
        <a:lstStyle/>
        <a:p>
          <a:endParaRPr lang="zh-TW" altLang="en-US"/>
        </a:p>
      </dgm:t>
    </dgm:pt>
    <dgm:pt modelId="{B3E2897F-C08C-45B6-A064-4476729A69D5}">
      <dgm:prSet phldrT="[文字]"/>
      <dgm:spPr/>
      <dgm:t>
        <a:bodyPr/>
        <a:lstStyle/>
        <a:p>
          <a:r>
            <a:rPr lang="zh-TW" altLang="en-US"/>
            <a:t>管理流程及方法</a:t>
          </a:r>
        </a:p>
      </dgm:t>
    </dgm:pt>
    <dgm:pt modelId="{EAA0BF0F-2E83-4E44-9529-F7F3E9081DD5}" type="parTrans" cxnId="{6CF2CA9F-24AA-4078-A625-92E050E3BE82}">
      <dgm:prSet/>
      <dgm:spPr/>
      <dgm:t>
        <a:bodyPr/>
        <a:lstStyle/>
        <a:p>
          <a:endParaRPr lang="zh-TW" altLang="en-US"/>
        </a:p>
      </dgm:t>
    </dgm:pt>
    <dgm:pt modelId="{6A9839DA-FE51-4728-8505-1D6A3AD496DE}" type="sibTrans" cxnId="{6CF2CA9F-24AA-4078-A625-92E050E3BE82}">
      <dgm:prSet/>
      <dgm:spPr/>
      <dgm:t>
        <a:bodyPr/>
        <a:lstStyle/>
        <a:p>
          <a:endParaRPr lang="zh-TW" altLang="en-US"/>
        </a:p>
      </dgm:t>
    </dgm:pt>
    <dgm:pt modelId="{250D59A4-1D5A-43AC-996C-CE883D1DCE9C}">
      <dgm:prSet phldrT="[文字]"/>
      <dgm:spPr/>
      <dgm:t>
        <a:bodyPr/>
        <a:lstStyle/>
        <a:p>
          <a:r>
            <a:rPr lang="zh-TW" altLang="en-US"/>
            <a:t>供應商評鑑</a:t>
          </a:r>
        </a:p>
      </dgm:t>
    </dgm:pt>
    <dgm:pt modelId="{42507C7E-294A-41E8-BF66-35E2393CE6FA}" type="parTrans" cxnId="{58C17449-1598-400C-9D84-C087ECD99ED5}">
      <dgm:prSet/>
      <dgm:spPr/>
      <dgm:t>
        <a:bodyPr/>
        <a:lstStyle/>
        <a:p>
          <a:endParaRPr lang="zh-TW" altLang="en-US"/>
        </a:p>
      </dgm:t>
    </dgm:pt>
    <dgm:pt modelId="{4BB461A6-AC7F-4403-AB0F-72F3AFDD5E7A}" type="sibTrans" cxnId="{58C17449-1598-400C-9D84-C087ECD99ED5}">
      <dgm:prSet/>
      <dgm:spPr/>
      <dgm:t>
        <a:bodyPr/>
        <a:lstStyle/>
        <a:p>
          <a:endParaRPr lang="zh-TW" altLang="en-US"/>
        </a:p>
      </dgm:t>
    </dgm:pt>
    <dgm:pt modelId="{994BF903-B3C7-42A4-B4AF-C1D2D05CBABD}">
      <dgm:prSet phldrT="[文字]"/>
      <dgm:spPr>
        <a:solidFill>
          <a:srgbClr val="00B0F0">
            <a:alpha val="50000"/>
          </a:srgbClr>
        </a:solidFill>
      </dgm:spPr>
      <dgm:t>
        <a:bodyPr/>
        <a:lstStyle/>
        <a:p>
          <a:r>
            <a:rPr lang="zh-TW" altLang="en-US"/>
            <a:t>新供應商篩選</a:t>
          </a:r>
        </a:p>
      </dgm:t>
    </dgm:pt>
    <dgm:pt modelId="{D85353B7-944D-4437-A4BA-A6D314CDEB41}" type="parTrans" cxnId="{1E92FA40-9F0F-4B2F-96C6-3E8CB89CEDE1}">
      <dgm:prSet/>
      <dgm:spPr/>
      <dgm:t>
        <a:bodyPr/>
        <a:lstStyle/>
        <a:p>
          <a:endParaRPr lang="zh-TW" altLang="en-US"/>
        </a:p>
      </dgm:t>
    </dgm:pt>
    <dgm:pt modelId="{33120DC8-DAA8-402E-B173-D13EAABBE698}" type="sibTrans" cxnId="{1E92FA40-9F0F-4B2F-96C6-3E8CB89CEDE1}">
      <dgm:prSet/>
      <dgm:spPr/>
      <dgm:t>
        <a:bodyPr/>
        <a:lstStyle/>
        <a:p>
          <a:endParaRPr lang="zh-TW" altLang="en-US"/>
        </a:p>
      </dgm:t>
    </dgm:pt>
    <dgm:pt modelId="{C9644B96-02A5-4E43-9B9D-9A2AB6F373C9}">
      <dgm:prSet phldrT="[文字]"/>
      <dgm:spPr/>
      <dgm:t>
        <a:bodyPr/>
        <a:lstStyle/>
        <a:p>
          <a:r>
            <a:rPr lang="zh-TW" altLang="en-US"/>
            <a:t>供應商風險評估</a:t>
          </a:r>
        </a:p>
      </dgm:t>
    </dgm:pt>
    <dgm:pt modelId="{A91CF516-EBEB-465C-BD16-3D8204E870F1}" type="parTrans" cxnId="{D73D0C45-48AD-4776-916E-1F8E54F9FC95}">
      <dgm:prSet/>
      <dgm:spPr/>
      <dgm:t>
        <a:bodyPr/>
        <a:lstStyle/>
        <a:p>
          <a:endParaRPr lang="zh-TW" altLang="en-US"/>
        </a:p>
      </dgm:t>
    </dgm:pt>
    <dgm:pt modelId="{EE028798-00B9-430C-A7B4-9BEDD366F38B}" type="sibTrans" cxnId="{D73D0C45-48AD-4776-916E-1F8E54F9FC95}">
      <dgm:prSet/>
      <dgm:spPr/>
      <dgm:t>
        <a:bodyPr/>
        <a:lstStyle/>
        <a:p>
          <a:endParaRPr lang="zh-TW" altLang="en-US"/>
        </a:p>
      </dgm:t>
    </dgm:pt>
    <dgm:pt modelId="{C6539B25-F1F9-4601-BF7A-63F1F5BEB667}" type="pres">
      <dgm:prSet presAssocID="{18C40028-ACC6-445E-B15C-D8F02DA34414}" presName="composite" presStyleCnt="0">
        <dgm:presLayoutVars>
          <dgm:chMax val="1"/>
          <dgm:dir/>
          <dgm:resizeHandles val="exact"/>
        </dgm:presLayoutVars>
      </dgm:prSet>
      <dgm:spPr/>
    </dgm:pt>
    <dgm:pt modelId="{4D5BBEAF-10E4-49ED-A511-8B682BAF8451}" type="pres">
      <dgm:prSet presAssocID="{18C40028-ACC6-445E-B15C-D8F02DA34414}" presName="radial" presStyleCnt="0">
        <dgm:presLayoutVars>
          <dgm:animLvl val="ctr"/>
        </dgm:presLayoutVars>
      </dgm:prSet>
      <dgm:spPr/>
    </dgm:pt>
    <dgm:pt modelId="{46FADECC-FFFE-4649-B597-71141896A723}" type="pres">
      <dgm:prSet presAssocID="{88826C61-8CB6-4722-AC01-7854B9E88706}" presName="centerShape" presStyleLbl="vennNode1" presStyleIdx="0" presStyleCnt="6"/>
      <dgm:spPr/>
    </dgm:pt>
    <dgm:pt modelId="{6544119B-9898-4E92-A881-3C5A5EDCABB4}" type="pres">
      <dgm:prSet presAssocID="{C67CDB75-0791-44BF-A01F-5FAF3E998269}" presName="node" presStyleLbl="vennNode1" presStyleIdx="1" presStyleCnt="6">
        <dgm:presLayoutVars>
          <dgm:bulletEnabled val="1"/>
        </dgm:presLayoutVars>
      </dgm:prSet>
      <dgm:spPr/>
    </dgm:pt>
    <dgm:pt modelId="{D7EB4FD3-EBC6-4ED8-A4CF-EC65A30814E2}" type="pres">
      <dgm:prSet presAssocID="{B3E2897F-C08C-45B6-A064-4476729A69D5}" presName="node" presStyleLbl="vennNode1" presStyleIdx="2" presStyleCnt="6">
        <dgm:presLayoutVars>
          <dgm:bulletEnabled val="1"/>
        </dgm:presLayoutVars>
      </dgm:prSet>
      <dgm:spPr/>
    </dgm:pt>
    <dgm:pt modelId="{D73E7993-A23B-40BC-841C-34E163C466DA}" type="pres">
      <dgm:prSet presAssocID="{C9644B96-02A5-4E43-9B9D-9A2AB6F373C9}" presName="node" presStyleLbl="vennNode1" presStyleIdx="3" presStyleCnt="6">
        <dgm:presLayoutVars>
          <dgm:bulletEnabled val="1"/>
        </dgm:presLayoutVars>
      </dgm:prSet>
      <dgm:spPr/>
    </dgm:pt>
    <dgm:pt modelId="{07E31676-4FA3-4A87-BC47-8E73AEEFB3E8}" type="pres">
      <dgm:prSet presAssocID="{250D59A4-1D5A-43AC-996C-CE883D1DCE9C}" presName="node" presStyleLbl="vennNode1" presStyleIdx="4" presStyleCnt="6">
        <dgm:presLayoutVars>
          <dgm:bulletEnabled val="1"/>
        </dgm:presLayoutVars>
      </dgm:prSet>
      <dgm:spPr/>
    </dgm:pt>
    <dgm:pt modelId="{41FABAD9-800C-44DC-BF14-7F6A4E991E33}" type="pres">
      <dgm:prSet presAssocID="{994BF903-B3C7-42A4-B4AF-C1D2D05CBABD}" presName="node" presStyleLbl="vennNode1" presStyleIdx="5" presStyleCnt="6">
        <dgm:presLayoutVars>
          <dgm:bulletEnabled val="1"/>
        </dgm:presLayoutVars>
      </dgm:prSet>
      <dgm:spPr/>
    </dgm:pt>
  </dgm:ptLst>
  <dgm:cxnLst>
    <dgm:cxn modelId="{9E29DC1F-F06C-4F61-ADEC-F2E6CB58DD84}" srcId="{88826C61-8CB6-4722-AC01-7854B9E88706}" destId="{C67CDB75-0791-44BF-A01F-5FAF3E998269}" srcOrd="0" destOrd="0" parTransId="{3DFF4A3D-241C-45DA-BE42-65DCC195BE45}" sibTransId="{CF0C5B51-0C8C-42C3-B54D-469587163F95}"/>
    <dgm:cxn modelId="{7EDCA12E-42A6-4EEF-AE2D-C42676C78373}" type="presOf" srcId="{18C40028-ACC6-445E-B15C-D8F02DA34414}" destId="{C6539B25-F1F9-4601-BF7A-63F1F5BEB667}" srcOrd="0" destOrd="0" presId="urn:microsoft.com/office/officeart/2005/8/layout/radial3"/>
    <dgm:cxn modelId="{1E92FA40-9F0F-4B2F-96C6-3E8CB89CEDE1}" srcId="{88826C61-8CB6-4722-AC01-7854B9E88706}" destId="{994BF903-B3C7-42A4-B4AF-C1D2D05CBABD}" srcOrd="4" destOrd="0" parTransId="{D85353B7-944D-4437-A4BA-A6D314CDEB41}" sibTransId="{33120DC8-DAA8-402E-B173-D13EAABBE698}"/>
    <dgm:cxn modelId="{36A94063-28AE-4E48-B6A8-D43952E0869B}" type="presOf" srcId="{C67CDB75-0791-44BF-A01F-5FAF3E998269}" destId="{6544119B-9898-4E92-A881-3C5A5EDCABB4}" srcOrd="0" destOrd="0" presId="urn:microsoft.com/office/officeart/2005/8/layout/radial3"/>
    <dgm:cxn modelId="{64545044-EFE8-43DD-9AB7-13B9149BE36B}" type="presOf" srcId="{C9644B96-02A5-4E43-9B9D-9A2AB6F373C9}" destId="{D73E7993-A23B-40BC-841C-34E163C466DA}" srcOrd="0" destOrd="0" presId="urn:microsoft.com/office/officeart/2005/8/layout/radial3"/>
    <dgm:cxn modelId="{D73D0C45-48AD-4776-916E-1F8E54F9FC95}" srcId="{88826C61-8CB6-4722-AC01-7854B9E88706}" destId="{C9644B96-02A5-4E43-9B9D-9A2AB6F373C9}" srcOrd="2" destOrd="0" parTransId="{A91CF516-EBEB-465C-BD16-3D8204E870F1}" sibTransId="{EE028798-00B9-430C-A7B4-9BEDD366F38B}"/>
    <dgm:cxn modelId="{58C17449-1598-400C-9D84-C087ECD99ED5}" srcId="{88826C61-8CB6-4722-AC01-7854B9E88706}" destId="{250D59A4-1D5A-43AC-996C-CE883D1DCE9C}" srcOrd="3" destOrd="0" parTransId="{42507C7E-294A-41E8-BF66-35E2393CE6FA}" sibTransId="{4BB461A6-AC7F-4403-AB0F-72F3AFDD5E7A}"/>
    <dgm:cxn modelId="{9FF6AC82-D24B-4CD2-A630-A6BF0224DC17}" type="presOf" srcId="{250D59A4-1D5A-43AC-996C-CE883D1DCE9C}" destId="{07E31676-4FA3-4A87-BC47-8E73AEEFB3E8}" srcOrd="0" destOrd="0" presId="urn:microsoft.com/office/officeart/2005/8/layout/radial3"/>
    <dgm:cxn modelId="{6CF2CA9F-24AA-4078-A625-92E050E3BE82}" srcId="{88826C61-8CB6-4722-AC01-7854B9E88706}" destId="{B3E2897F-C08C-45B6-A064-4476729A69D5}" srcOrd="1" destOrd="0" parTransId="{EAA0BF0F-2E83-4E44-9529-F7F3E9081DD5}" sibTransId="{6A9839DA-FE51-4728-8505-1D6A3AD496DE}"/>
    <dgm:cxn modelId="{4F72D5A3-9430-441A-8D5E-6CA8ADCBD5D1}" type="presOf" srcId="{994BF903-B3C7-42A4-B4AF-C1D2D05CBABD}" destId="{41FABAD9-800C-44DC-BF14-7F6A4E991E33}" srcOrd="0" destOrd="0" presId="urn:microsoft.com/office/officeart/2005/8/layout/radial3"/>
    <dgm:cxn modelId="{C54BF2AA-3BA2-4B52-871C-8DC35FB7BF78}" type="presOf" srcId="{B3E2897F-C08C-45B6-A064-4476729A69D5}" destId="{D7EB4FD3-EBC6-4ED8-A4CF-EC65A30814E2}" srcOrd="0" destOrd="0" presId="urn:microsoft.com/office/officeart/2005/8/layout/radial3"/>
    <dgm:cxn modelId="{205D4AC2-7D08-4576-9176-C25A8EECA018}" srcId="{18C40028-ACC6-445E-B15C-D8F02DA34414}" destId="{88826C61-8CB6-4722-AC01-7854B9E88706}" srcOrd="0" destOrd="0" parTransId="{FAED3414-F153-4F28-A0FA-6B0CBA4AB661}" sibTransId="{12C149C6-3CB6-4B13-98AD-41D757F260C6}"/>
    <dgm:cxn modelId="{77395FC7-D440-4D08-A7D6-04401A62D20D}" type="presOf" srcId="{88826C61-8CB6-4722-AC01-7854B9E88706}" destId="{46FADECC-FFFE-4649-B597-71141896A723}" srcOrd="0" destOrd="0" presId="urn:microsoft.com/office/officeart/2005/8/layout/radial3"/>
    <dgm:cxn modelId="{1F62D530-99BB-4A35-B043-BC73AEF9A1CA}" type="presParOf" srcId="{C6539B25-F1F9-4601-BF7A-63F1F5BEB667}" destId="{4D5BBEAF-10E4-49ED-A511-8B682BAF8451}" srcOrd="0" destOrd="0" presId="urn:microsoft.com/office/officeart/2005/8/layout/radial3"/>
    <dgm:cxn modelId="{25C6844D-3C8C-4932-B870-78315B9FDB9F}" type="presParOf" srcId="{4D5BBEAF-10E4-49ED-A511-8B682BAF8451}" destId="{46FADECC-FFFE-4649-B597-71141896A723}" srcOrd="0" destOrd="0" presId="urn:microsoft.com/office/officeart/2005/8/layout/radial3"/>
    <dgm:cxn modelId="{6124F396-0093-4E98-8CD6-2B23A40DB77D}" type="presParOf" srcId="{4D5BBEAF-10E4-49ED-A511-8B682BAF8451}" destId="{6544119B-9898-4E92-A881-3C5A5EDCABB4}" srcOrd="1" destOrd="0" presId="urn:microsoft.com/office/officeart/2005/8/layout/radial3"/>
    <dgm:cxn modelId="{5EE1B701-4185-4799-AD0E-08C226F49AAA}" type="presParOf" srcId="{4D5BBEAF-10E4-49ED-A511-8B682BAF8451}" destId="{D7EB4FD3-EBC6-4ED8-A4CF-EC65A30814E2}" srcOrd="2" destOrd="0" presId="urn:microsoft.com/office/officeart/2005/8/layout/radial3"/>
    <dgm:cxn modelId="{CBCE9DB8-31EF-427B-91BA-C829C1A46954}" type="presParOf" srcId="{4D5BBEAF-10E4-49ED-A511-8B682BAF8451}" destId="{D73E7993-A23B-40BC-841C-34E163C466DA}" srcOrd="3" destOrd="0" presId="urn:microsoft.com/office/officeart/2005/8/layout/radial3"/>
    <dgm:cxn modelId="{7B3BF23D-9714-463C-A5EB-A9416A9A80EF}" type="presParOf" srcId="{4D5BBEAF-10E4-49ED-A511-8B682BAF8451}" destId="{07E31676-4FA3-4A87-BC47-8E73AEEFB3E8}" srcOrd="4" destOrd="0" presId="urn:microsoft.com/office/officeart/2005/8/layout/radial3"/>
    <dgm:cxn modelId="{607FEB13-AFD2-4286-95FB-30B8BCA6796C}" type="presParOf" srcId="{4D5BBEAF-10E4-49ED-A511-8B682BAF8451}" destId="{41FABAD9-800C-44DC-BF14-7F6A4E991E33}" srcOrd="5"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8C40028-ACC6-445E-B15C-D8F02DA34414}"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zh-TW" altLang="en-US"/>
        </a:p>
      </dgm:t>
    </dgm:pt>
    <dgm:pt modelId="{88826C61-8CB6-4722-AC01-7854B9E88706}">
      <dgm:prSet phldrT="[文字]"/>
      <dgm:spPr/>
      <dgm:t>
        <a:bodyPr/>
        <a:lstStyle/>
        <a:p>
          <a:r>
            <a:rPr lang="zh-TW" altLang="en-US" dirty="0"/>
            <a:t>供應商管理</a:t>
          </a:r>
          <a:endParaRPr lang="en-US" altLang="zh-TW" dirty="0"/>
        </a:p>
        <a:p>
          <a:r>
            <a:rPr lang="en-US" altLang="zh-TW" dirty="0"/>
            <a:t>Supplier Management Program</a:t>
          </a:r>
        </a:p>
      </dgm:t>
    </dgm:pt>
    <dgm:pt modelId="{FAED3414-F153-4F28-A0FA-6B0CBA4AB661}" type="parTrans" cxnId="{205D4AC2-7D08-4576-9176-C25A8EECA018}">
      <dgm:prSet/>
      <dgm:spPr/>
      <dgm:t>
        <a:bodyPr/>
        <a:lstStyle/>
        <a:p>
          <a:endParaRPr lang="zh-TW" altLang="en-US"/>
        </a:p>
      </dgm:t>
    </dgm:pt>
    <dgm:pt modelId="{12C149C6-3CB6-4B13-98AD-41D757F260C6}" type="sibTrans" cxnId="{205D4AC2-7D08-4576-9176-C25A8EECA018}">
      <dgm:prSet/>
      <dgm:spPr/>
      <dgm:t>
        <a:bodyPr/>
        <a:lstStyle/>
        <a:p>
          <a:endParaRPr lang="zh-TW" altLang="en-US"/>
        </a:p>
      </dgm:t>
    </dgm:pt>
    <dgm:pt modelId="{C67CDB75-0791-44BF-A01F-5FAF3E998269}">
      <dgm:prSet phldrT="[文字]"/>
      <dgm:spPr/>
      <dgm:t>
        <a:bodyPr/>
        <a:lstStyle/>
        <a:p>
          <a:r>
            <a:rPr lang="zh-TW" altLang="en-US"/>
            <a:t>供應商鑑別</a:t>
          </a:r>
          <a:endParaRPr lang="en-US" altLang="zh-TW"/>
        </a:p>
      </dgm:t>
    </dgm:pt>
    <dgm:pt modelId="{3DFF4A3D-241C-45DA-BE42-65DCC195BE45}" type="parTrans" cxnId="{9E29DC1F-F06C-4F61-ADEC-F2E6CB58DD84}">
      <dgm:prSet/>
      <dgm:spPr/>
      <dgm:t>
        <a:bodyPr/>
        <a:lstStyle/>
        <a:p>
          <a:endParaRPr lang="zh-TW" altLang="en-US"/>
        </a:p>
      </dgm:t>
    </dgm:pt>
    <dgm:pt modelId="{CF0C5B51-0C8C-42C3-B54D-469587163F95}" type="sibTrans" cxnId="{9E29DC1F-F06C-4F61-ADEC-F2E6CB58DD84}">
      <dgm:prSet/>
      <dgm:spPr/>
      <dgm:t>
        <a:bodyPr/>
        <a:lstStyle/>
        <a:p>
          <a:endParaRPr lang="zh-TW" altLang="en-US"/>
        </a:p>
      </dgm:t>
    </dgm:pt>
    <dgm:pt modelId="{B3E2897F-C08C-45B6-A064-4476729A69D5}">
      <dgm:prSet phldrT="[文字]"/>
      <dgm:spPr/>
      <dgm:t>
        <a:bodyPr/>
        <a:lstStyle/>
        <a:p>
          <a:r>
            <a:rPr lang="zh-TW" altLang="en-US"/>
            <a:t>管理流程及方法</a:t>
          </a:r>
        </a:p>
      </dgm:t>
    </dgm:pt>
    <dgm:pt modelId="{EAA0BF0F-2E83-4E44-9529-F7F3E9081DD5}" type="parTrans" cxnId="{6CF2CA9F-24AA-4078-A625-92E050E3BE82}">
      <dgm:prSet/>
      <dgm:spPr/>
      <dgm:t>
        <a:bodyPr/>
        <a:lstStyle/>
        <a:p>
          <a:endParaRPr lang="zh-TW" altLang="en-US"/>
        </a:p>
      </dgm:t>
    </dgm:pt>
    <dgm:pt modelId="{6A9839DA-FE51-4728-8505-1D6A3AD496DE}" type="sibTrans" cxnId="{6CF2CA9F-24AA-4078-A625-92E050E3BE82}">
      <dgm:prSet/>
      <dgm:spPr/>
      <dgm:t>
        <a:bodyPr/>
        <a:lstStyle/>
        <a:p>
          <a:endParaRPr lang="zh-TW" altLang="en-US"/>
        </a:p>
      </dgm:t>
    </dgm:pt>
    <dgm:pt modelId="{250D59A4-1D5A-43AC-996C-CE883D1DCE9C}">
      <dgm:prSet phldrT="[文字]"/>
      <dgm:spPr>
        <a:solidFill>
          <a:srgbClr val="00B0F0">
            <a:alpha val="50000"/>
          </a:srgbClr>
        </a:solidFill>
      </dgm:spPr>
      <dgm:t>
        <a:bodyPr/>
        <a:lstStyle/>
        <a:p>
          <a:r>
            <a:rPr lang="zh-TW" altLang="en-US"/>
            <a:t>供應商評鑑</a:t>
          </a:r>
        </a:p>
      </dgm:t>
    </dgm:pt>
    <dgm:pt modelId="{42507C7E-294A-41E8-BF66-35E2393CE6FA}" type="parTrans" cxnId="{58C17449-1598-400C-9D84-C087ECD99ED5}">
      <dgm:prSet/>
      <dgm:spPr/>
      <dgm:t>
        <a:bodyPr/>
        <a:lstStyle/>
        <a:p>
          <a:endParaRPr lang="zh-TW" altLang="en-US"/>
        </a:p>
      </dgm:t>
    </dgm:pt>
    <dgm:pt modelId="{4BB461A6-AC7F-4403-AB0F-72F3AFDD5E7A}" type="sibTrans" cxnId="{58C17449-1598-400C-9D84-C087ECD99ED5}">
      <dgm:prSet/>
      <dgm:spPr/>
      <dgm:t>
        <a:bodyPr/>
        <a:lstStyle/>
        <a:p>
          <a:endParaRPr lang="zh-TW" altLang="en-US"/>
        </a:p>
      </dgm:t>
    </dgm:pt>
    <dgm:pt modelId="{994BF903-B3C7-42A4-B4AF-C1D2D05CBABD}">
      <dgm:prSet phldrT="[文字]"/>
      <dgm:spPr/>
      <dgm:t>
        <a:bodyPr/>
        <a:lstStyle/>
        <a:p>
          <a:r>
            <a:rPr lang="zh-TW" altLang="en-US"/>
            <a:t>新供應商篩選</a:t>
          </a:r>
        </a:p>
      </dgm:t>
    </dgm:pt>
    <dgm:pt modelId="{D85353B7-944D-4437-A4BA-A6D314CDEB41}" type="parTrans" cxnId="{1E92FA40-9F0F-4B2F-96C6-3E8CB89CEDE1}">
      <dgm:prSet/>
      <dgm:spPr/>
      <dgm:t>
        <a:bodyPr/>
        <a:lstStyle/>
        <a:p>
          <a:endParaRPr lang="zh-TW" altLang="en-US"/>
        </a:p>
      </dgm:t>
    </dgm:pt>
    <dgm:pt modelId="{33120DC8-DAA8-402E-B173-D13EAABBE698}" type="sibTrans" cxnId="{1E92FA40-9F0F-4B2F-96C6-3E8CB89CEDE1}">
      <dgm:prSet/>
      <dgm:spPr/>
      <dgm:t>
        <a:bodyPr/>
        <a:lstStyle/>
        <a:p>
          <a:endParaRPr lang="zh-TW" altLang="en-US"/>
        </a:p>
      </dgm:t>
    </dgm:pt>
    <dgm:pt modelId="{C9644B96-02A5-4E43-9B9D-9A2AB6F373C9}">
      <dgm:prSet phldrT="[文字]"/>
      <dgm:spPr>
        <a:solidFill>
          <a:srgbClr val="00B0F0">
            <a:alpha val="50000"/>
          </a:srgbClr>
        </a:solidFill>
      </dgm:spPr>
      <dgm:t>
        <a:bodyPr/>
        <a:lstStyle/>
        <a:p>
          <a:r>
            <a:rPr lang="zh-TW" altLang="en-US"/>
            <a:t>供應商風險評估</a:t>
          </a:r>
        </a:p>
      </dgm:t>
    </dgm:pt>
    <dgm:pt modelId="{A91CF516-EBEB-465C-BD16-3D8204E870F1}" type="parTrans" cxnId="{D73D0C45-48AD-4776-916E-1F8E54F9FC95}">
      <dgm:prSet/>
      <dgm:spPr/>
      <dgm:t>
        <a:bodyPr/>
        <a:lstStyle/>
        <a:p>
          <a:endParaRPr lang="zh-TW" altLang="en-US"/>
        </a:p>
      </dgm:t>
    </dgm:pt>
    <dgm:pt modelId="{EE028798-00B9-430C-A7B4-9BEDD366F38B}" type="sibTrans" cxnId="{D73D0C45-48AD-4776-916E-1F8E54F9FC95}">
      <dgm:prSet/>
      <dgm:spPr/>
      <dgm:t>
        <a:bodyPr/>
        <a:lstStyle/>
        <a:p>
          <a:endParaRPr lang="zh-TW" altLang="en-US"/>
        </a:p>
      </dgm:t>
    </dgm:pt>
    <dgm:pt modelId="{C6539B25-F1F9-4601-BF7A-63F1F5BEB667}" type="pres">
      <dgm:prSet presAssocID="{18C40028-ACC6-445E-B15C-D8F02DA34414}" presName="composite" presStyleCnt="0">
        <dgm:presLayoutVars>
          <dgm:chMax val="1"/>
          <dgm:dir/>
          <dgm:resizeHandles val="exact"/>
        </dgm:presLayoutVars>
      </dgm:prSet>
      <dgm:spPr/>
    </dgm:pt>
    <dgm:pt modelId="{4D5BBEAF-10E4-49ED-A511-8B682BAF8451}" type="pres">
      <dgm:prSet presAssocID="{18C40028-ACC6-445E-B15C-D8F02DA34414}" presName="radial" presStyleCnt="0">
        <dgm:presLayoutVars>
          <dgm:animLvl val="ctr"/>
        </dgm:presLayoutVars>
      </dgm:prSet>
      <dgm:spPr/>
    </dgm:pt>
    <dgm:pt modelId="{46FADECC-FFFE-4649-B597-71141896A723}" type="pres">
      <dgm:prSet presAssocID="{88826C61-8CB6-4722-AC01-7854B9E88706}" presName="centerShape" presStyleLbl="vennNode1" presStyleIdx="0" presStyleCnt="6"/>
      <dgm:spPr/>
    </dgm:pt>
    <dgm:pt modelId="{6544119B-9898-4E92-A881-3C5A5EDCABB4}" type="pres">
      <dgm:prSet presAssocID="{C67CDB75-0791-44BF-A01F-5FAF3E998269}" presName="node" presStyleLbl="vennNode1" presStyleIdx="1" presStyleCnt="6">
        <dgm:presLayoutVars>
          <dgm:bulletEnabled val="1"/>
        </dgm:presLayoutVars>
      </dgm:prSet>
      <dgm:spPr/>
    </dgm:pt>
    <dgm:pt modelId="{D7EB4FD3-EBC6-4ED8-A4CF-EC65A30814E2}" type="pres">
      <dgm:prSet presAssocID="{B3E2897F-C08C-45B6-A064-4476729A69D5}" presName="node" presStyleLbl="vennNode1" presStyleIdx="2" presStyleCnt="6">
        <dgm:presLayoutVars>
          <dgm:bulletEnabled val="1"/>
        </dgm:presLayoutVars>
      </dgm:prSet>
      <dgm:spPr/>
    </dgm:pt>
    <dgm:pt modelId="{D73E7993-A23B-40BC-841C-34E163C466DA}" type="pres">
      <dgm:prSet presAssocID="{C9644B96-02A5-4E43-9B9D-9A2AB6F373C9}" presName="node" presStyleLbl="vennNode1" presStyleIdx="3" presStyleCnt="6">
        <dgm:presLayoutVars>
          <dgm:bulletEnabled val="1"/>
        </dgm:presLayoutVars>
      </dgm:prSet>
      <dgm:spPr/>
    </dgm:pt>
    <dgm:pt modelId="{07E31676-4FA3-4A87-BC47-8E73AEEFB3E8}" type="pres">
      <dgm:prSet presAssocID="{250D59A4-1D5A-43AC-996C-CE883D1DCE9C}" presName="node" presStyleLbl="vennNode1" presStyleIdx="4" presStyleCnt="6">
        <dgm:presLayoutVars>
          <dgm:bulletEnabled val="1"/>
        </dgm:presLayoutVars>
      </dgm:prSet>
      <dgm:spPr/>
    </dgm:pt>
    <dgm:pt modelId="{41FABAD9-800C-44DC-BF14-7F6A4E991E33}" type="pres">
      <dgm:prSet presAssocID="{994BF903-B3C7-42A4-B4AF-C1D2D05CBABD}" presName="node" presStyleLbl="vennNode1" presStyleIdx="5" presStyleCnt="6">
        <dgm:presLayoutVars>
          <dgm:bulletEnabled val="1"/>
        </dgm:presLayoutVars>
      </dgm:prSet>
      <dgm:spPr/>
    </dgm:pt>
  </dgm:ptLst>
  <dgm:cxnLst>
    <dgm:cxn modelId="{9E29DC1F-F06C-4F61-ADEC-F2E6CB58DD84}" srcId="{88826C61-8CB6-4722-AC01-7854B9E88706}" destId="{C67CDB75-0791-44BF-A01F-5FAF3E998269}" srcOrd="0" destOrd="0" parTransId="{3DFF4A3D-241C-45DA-BE42-65DCC195BE45}" sibTransId="{CF0C5B51-0C8C-42C3-B54D-469587163F95}"/>
    <dgm:cxn modelId="{7EDCA12E-42A6-4EEF-AE2D-C42676C78373}" type="presOf" srcId="{18C40028-ACC6-445E-B15C-D8F02DA34414}" destId="{C6539B25-F1F9-4601-BF7A-63F1F5BEB667}" srcOrd="0" destOrd="0" presId="urn:microsoft.com/office/officeart/2005/8/layout/radial3"/>
    <dgm:cxn modelId="{1E92FA40-9F0F-4B2F-96C6-3E8CB89CEDE1}" srcId="{88826C61-8CB6-4722-AC01-7854B9E88706}" destId="{994BF903-B3C7-42A4-B4AF-C1D2D05CBABD}" srcOrd="4" destOrd="0" parTransId="{D85353B7-944D-4437-A4BA-A6D314CDEB41}" sibTransId="{33120DC8-DAA8-402E-B173-D13EAABBE698}"/>
    <dgm:cxn modelId="{36A94063-28AE-4E48-B6A8-D43952E0869B}" type="presOf" srcId="{C67CDB75-0791-44BF-A01F-5FAF3E998269}" destId="{6544119B-9898-4E92-A881-3C5A5EDCABB4}" srcOrd="0" destOrd="0" presId="urn:microsoft.com/office/officeart/2005/8/layout/radial3"/>
    <dgm:cxn modelId="{64545044-EFE8-43DD-9AB7-13B9149BE36B}" type="presOf" srcId="{C9644B96-02A5-4E43-9B9D-9A2AB6F373C9}" destId="{D73E7993-A23B-40BC-841C-34E163C466DA}" srcOrd="0" destOrd="0" presId="urn:microsoft.com/office/officeart/2005/8/layout/radial3"/>
    <dgm:cxn modelId="{D73D0C45-48AD-4776-916E-1F8E54F9FC95}" srcId="{88826C61-8CB6-4722-AC01-7854B9E88706}" destId="{C9644B96-02A5-4E43-9B9D-9A2AB6F373C9}" srcOrd="2" destOrd="0" parTransId="{A91CF516-EBEB-465C-BD16-3D8204E870F1}" sibTransId="{EE028798-00B9-430C-A7B4-9BEDD366F38B}"/>
    <dgm:cxn modelId="{58C17449-1598-400C-9D84-C087ECD99ED5}" srcId="{88826C61-8CB6-4722-AC01-7854B9E88706}" destId="{250D59A4-1D5A-43AC-996C-CE883D1DCE9C}" srcOrd="3" destOrd="0" parTransId="{42507C7E-294A-41E8-BF66-35E2393CE6FA}" sibTransId="{4BB461A6-AC7F-4403-AB0F-72F3AFDD5E7A}"/>
    <dgm:cxn modelId="{9FF6AC82-D24B-4CD2-A630-A6BF0224DC17}" type="presOf" srcId="{250D59A4-1D5A-43AC-996C-CE883D1DCE9C}" destId="{07E31676-4FA3-4A87-BC47-8E73AEEFB3E8}" srcOrd="0" destOrd="0" presId="urn:microsoft.com/office/officeart/2005/8/layout/radial3"/>
    <dgm:cxn modelId="{6CF2CA9F-24AA-4078-A625-92E050E3BE82}" srcId="{88826C61-8CB6-4722-AC01-7854B9E88706}" destId="{B3E2897F-C08C-45B6-A064-4476729A69D5}" srcOrd="1" destOrd="0" parTransId="{EAA0BF0F-2E83-4E44-9529-F7F3E9081DD5}" sibTransId="{6A9839DA-FE51-4728-8505-1D6A3AD496DE}"/>
    <dgm:cxn modelId="{4F72D5A3-9430-441A-8D5E-6CA8ADCBD5D1}" type="presOf" srcId="{994BF903-B3C7-42A4-B4AF-C1D2D05CBABD}" destId="{41FABAD9-800C-44DC-BF14-7F6A4E991E33}" srcOrd="0" destOrd="0" presId="urn:microsoft.com/office/officeart/2005/8/layout/radial3"/>
    <dgm:cxn modelId="{C54BF2AA-3BA2-4B52-871C-8DC35FB7BF78}" type="presOf" srcId="{B3E2897F-C08C-45B6-A064-4476729A69D5}" destId="{D7EB4FD3-EBC6-4ED8-A4CF-EC65A30814E2}" srcOrd="0" destOrd="0" presId="urn:microsoft.com/office/officeart/2005/8/layout/radial3"/>
    <dgm:cxn modelId="{205D4AC2-7D08-4576-9176-C25A8EECA018}" srcId="{18C40028-ACC6-445E-B15C-D8F02DA34414}" destId="{88826C61-8CB6-4722-AC01-7854B9E88706}" srcOrd="0" destOrd="0" parTransId="{FAED3414-F153-4F28-A0FA-6B0CBA4AB661}" sibTransId="{12C149C6-3CB6-4B13-98AD-41D757F260C6}"/>
    <dgm:cxn modelId="{77395FC7-D440-4D08-A7D6-04401A62D20D}" type="presOf" srcId="{88826C61-8CB6-4722-AC01-7854B9E88706}" destId="{46FADECC-FFFE-4649-B597-71141896A723}" srcOrd="0" destOrd="0" presId="urn:microsoft.com/office/officeart/2005/8/layout/radial3"/>
    <dgm:cxn modelId="{1F62D530-99BB-4A35-B043-BC73AEF9A1CA}" type="presParOf" srcId="{C6539B25-F1F9-4601-BF7A-63F1F5BEB667}" destId="{4D5BBEAF-10E4-49ED-A511-8B682BAF8451}" srcOrd="0" destOrd="0" presId="urn:microsoft.com/office/officeart/2005/8/layout/radial3"/>
    <dgm:cxn modelId="{25C6844D-3C8C-4932-B870-78315B9FDB9F}" type="presParOf" srcId="{4D5BBEAF-10E4-49ED-A511-8B682BAF8451}" destId="{46FADECC-FFFE-4649-B597-71141896A723}" srcOrd="0" destOrd="0" presId="urn:microsoft.com/office/officeart/2005/8/layout/radial3"/>
    <dgm:cxn modelId="{6124F396-0093-4E98-8CD6-2B23A40DB77D}" type="presParOf" srcId="{4D5BBEAF-10E4-49ED-A511-8B682BAF8451}" destId="{6544119B-9898-4E92-A881-3C5A5EDCABB4}" srcOrd="1" destOrd="0" presId="urn:microsoft.com/office/officeart/2005/8/layout/radial3"/>
    <dgm:cxn modelId="{5EE1B701-4185-4799-AD0E-08C226F49AAA}" type="presParOf" srcId="{4D5BBEAF-10E4-49ED-A511-8B682BAF8451}" destId="{D7EB4FD3-EBC6-4ED8-A4CF-EC65A30814E2}" srcOrd="2" destOrd="0" presId="urn:microsoft.com/office/officeart/2005/8/layout/radial3"/>
    <dgm:cxn modelId="{CBCE9DB8-31EF-427B-91BA-C829C1A46954}" type="presParOf" srcId="{4D5BBEAF-10E4-49ED-A511-8B682BAF8451}" destId="{D73E7993-A23B-40BC-841C-34E163C466DA}" srcOrd="3" destOrd="0" presId="urn:microsoft.com/office/officeart/2005/8/layout/radial3"/>
    <dgm:cxn modelId="{7B3BF23D-9714-463C-A5EB-A9416A9A80EF}" type="presParOf" srcId="{4D5BBEAF-10E4-49ED-A511-8B682BAF8451}" destId="{07E31676-4FA3-4A87-BC47-8E73AEEFB3E8}" srcOrd="4" destOrd="0" presId="urn:microsoft.com/office/officeart/2005/8/layout/radial3"/>
    <dgm:cxn modelId="{607FEB13-AFD2-4286-95FB-30B8BCA6796C}" type="presParOf" srcId="{4D5BBEAF-10E4-49ED-A511-8B682BAF8451}" destId="{41FABAD9-800C-44DC-BF14-7F6A4E991E33}" srcOrd="5"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2A9762-49F8-4BC8-A93D-8E6CD1913A36}">
      <dsp:nvSpPr>
        <dsp:cNvPr id="0" name=""/>
        <dsp:cNvSpPr/>
      </dsp:nvSpPr>
      <dsp:spPr>
        <a:xfrm>
          <a:off x="1773" y="1673085"/>
          <a:ext cx="1984868" cy="766159"/>
        </a:xfrm>
        <a:prstGeom prst="chevron">
          <a:avLst>
            <a:gd name="adj" fmla="val 4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1C6C9E-8282-4C40-8631-33C07551F1BC}">
      <dsp:nvSpPr>
        <dsp:cNvPr id="0" name=""/>
        <dsp:cNvSpPr/>
      </dsp:nvSpPr>
      <dsp:spPr>
        <a:xfrm>
          <a:off x="531071" y="1864625"/>
          <a:ext cx="1676111" cy="76615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altLang="zh-TW" sz="1400" kern="1200"/>
            <a:t>Supplier Qualification</a:t>
          </a:r>
          <a:r>
            <a:rPr lang="zh-TW" altLang="en-US" sz="1400" kern="1200"/>
            <a:t> </a:t>
          </a:r>
          <a:endParaRPr lang="en-US" altLang="zh-TW" sz="1400" kern="1200"/>
        </a:p>
        <a:p>
          <a:pPr marL="0" lvl="0" indent="0" algn="ctr" defTabSz="622300">
            <a:lnSpc>
              <a:spcPct val="90000"/>
            </a:lnSpc>
            <a:spcBef>
              <a:spcPct val="0"/>
            </a:spcBef>
            <a:spcAft>
              <a:spcPct val="35000"/>
            </a:spcAft>
            <a:buNone/>
          </a:pPr>
          <a:r>
            <a:rPr lang="zh-TW" altLang="en-US" sz="1400" kern="1200"/>
            <a:t>供應商審查</a:t>
          </a:r>
        </a:p>
      </dsp:txBody>
      <dsp:txXfrm>
        <a:off x="553511" y="1887065"/>
        <a:ext cx="1631231" cy="721279"/>
      </dsp:txXfrm>
    </dsp:sp>
    <dsp:sp modelId="{796591E8-D865-42C6-B899-511FE44E31A8}">
      <dsp:nvSpPr>
        <dsp:cNvPr id="0" name=""/>
        <dsp:cNvSpPr/>
      </dsp:nvSpPr>
      <dsp:spPr>
        <a:xfrm>
          <a:off x="2268934" y="1673085"/>
          <a:ext cx="1984868" cy="766159"/>
        </a:xfrm>
        <a:prstGeom prst="chevron">
          <a:avLst>
            <a:gd name="adj" fmla="val 40000"/>
          </a:avLst>
        </a:prstGeom>
        <a:solidFill>
          <a:schemeClr val="accent2">
            <a:hueOff val="0"/>
            <a:satOff val="0"/>
            <a:lumOff val="122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8B5AA8-2498-48AB-9DFC-64AC3673B000}">
      <dsp:nvSpPr>
        <dsp:cNvPr id="0" name=""/>
        <dsp:cNvSpPr/>
      </dsp:nvSpPr>
      <dsp:spPr>
        <a:xfrm>
          <a:off x="2798232" y="1864625"/>
          <a:ext cx="1676111" cy="76615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1225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altLang="zh-TW" sz="1400" kern="1200"/>
            <a:t>QTA / Service agreement</a:t>
          </a:r>
        </a:p>
        <a:p>
          <a:pPr marL="0" lvl="0" indent="0" algn="ctr" defTabSz="622300">
            <a:lnSpc>
              <a:spcPct val="90000"/>
            </a:lnSpc>
            <a:spcBef>
              <a:spcPct val="0"/>
            </a:spcBef>
            <a:spcAft>
              <a:spcPct val="35000"/>
            </a:spcAft>
            <a:buNone/>
          </a:pPr>
          <a:r>
            <a:rPr lang="zh-TW" altLang="en-US" sz="1400" kern="1200"/>
            <a:t>品質</a:t>
          </a:r>
          <a:r>
            <a:rPr lang="en-US" altLang="zh-TW" sz="1400" kern="1200"/>
            <a:t>/</a:t>
          </a:r>
          <a:r>
            <a:rPr lang="zh-TW" altLang="en-US" sz="1400" kern="1200"/>
            <a:t>服務協議</a:t>
          </a:r>
        </a:p>
      </dsp:txBody>
      <dsp:txXfrm>
        <a:off x="2820672" y="1887065"/>
        <a:ext cx="1631231" cy="721279"/>
      </dsp:txXfrm>
    </dsp:sp>
    <dsp:sp modelId="{450E5C50-2D83-4310-8C86-524456ADE6CE}">
      <dsp:nvSpPr>
        <dsp:cNvPr id="0" name=""/>
        <dsp:cNvSpPr/>
      </dsp:nvSpPr>
      <dsp:spPr>
        <a:xfrm>
          <a:off x="4536095" y="1673085"/>
          <a:ext cx="1984868" cy="766159"/>
        </a:xfrm>
        <a:prstGeom prst="chevron">
          <a:avLst>
            <a:gd name="adj" fmla="val 40000"/>
          </a:avLst>
        </a:prstGeom>
        <a:solidFill>
          <a:schemeClr val="accent2">
            <a:hueOff val="0"/>
            <a:satOff val="0"/>
            <a:lumOff val="2451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C4F0BB-C9AC-4545-8868-CAF4B3590AF7}">
      <dsp:nvSpPr>
        <dsp:cNvPr id="0" name=""/>
        <dsp:cNvSpPr/>
      </dsp:nvSpPr>
      <dsp:spPr>
        <a:xfrm>
          <a:off x="5065393" y="1864625"/>
          <a:ext cx="1676111" cy="76615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245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altLang="zh-TW" sz="1400" kern="1200"/>
            <a:t>Auditing / Visiting</a:t>
          </a:r>
        </a:p>
        <a:p>
          <a:pPr marL="0" lvl="0" indent="0" algn="ctr" defTabSz="622300">
            <a:lnSpc>
              <a:spcPct val="90000"/>
            </a:lnSpc>
            <a:spcBef>
              <a:spcPct val="0"/>
            </a:spcBef>
            <a:spcAft>
              <a:spcPct val="35000"/>
            </a:spcAft>
            <a:buNone/>
          </a:pPr>
          <a:r>
            <a:rPr lang="zh-TW" altLang="en-US" sz="1400" kern="1200"/>
            <a:t>稽核</a:t>
          </a:r>
          <a:r>
            <a:rPr lang="en-US" altLang="zh-TW" sz="1400" kern="1200"/>
            <a:t>/</a:t>
          </a:r>
          <a:r>
            <a:rPr lang="zh-TW" altLang="en-US" sz="1400" kern="1200"/>
            <a:t>拜訪</a:t>
          </a:r>
        </a:p>
      </dsp:txBody>
      <dsp:txXfrm>
        <a:off x="5087833" y="1887065"/>
        <a:ext cx="1631231" cy="721279"/>
      </dsp:txXfrm>
    </dsp:sp>
    <dsp:sp modelId="{72FD11B9-C89C-4070-8354-E8E06C6210E6}">
      <dsp:nvSpPr>
        <dsp:cNvPr id="0" name=""/>
        <dsp:cNvSpPr/>
      </dsp:nvSpPr>
      <dsp:spPr>
        <a:xfrm>
          <a:off x="6803256" y="1673085"/>
          <a:ext cx="1984868" cy="766159"/>
        </a:xfrm>
        <a:prstGeom prst="chevron">
          <a:avLst>
            <a:gd name="adj" fmla="val 40000"/>
          </a:avLst>
        </a:prstGeom>
        <a:solidFill>
          <a:schemeClr val="accent2">
            <a:hueOff val="0"/>
            <a:satOff val="0"/>
            <a:lumOff val="367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D5F446-495D-40ED-9F80-6F99196FE130}">
      <dsp:nvSpPr>
        <dsp:cNvPr id="0" name=""/>
        <dsp:cNvSpPr/>
      </dsp:nvSpPr>
      <dsp:spPr>
        <a:xfrm>
          <a:off x="7332555" y="1864625"/>
          <a:ext cx="1676111" cy="76615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3676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altLang="zh-TW" sz="1400" kern="1200"/>
            <a:t>ESG Engagement</a:t>
          </a:r>
        </a:p>
        <a:p>
          <a:pPr marL="0" lvl="0" indent="0" algn="ctr" defTabSz="622300">
            <a:lnSpc>
              <a:spcPct val="90000"/>
            </a:lnSpc>
            <a:spcBef>
              <a:spcPct val="0"/>
            </a:spcBef>
            <a:spcAft>
              <a:spcPct val="35000"/>
            </a:spcAft>
            <a:buNone/>
          </a:pPr>
          <a:r>
            <a:rPr lang="en-US" altLang="zh-TW" sz="1400" kern="1200"/>
            <a:t>ESG</a:t>
          </a:r>
          <a:r>
            <a:rPr lang="zh-TW" altLang="en-US" sz="1400" kern="1200"/>
            <a:t>參與</a:t>
          </a:r>
          <a:r>
            <a:rPr lang="en-US" altLang="zh-TW" sz="1400" kern="1200"/>
            <a:t> </a:t>
          </a:r>
          <a:endParaRPr lang="zh-TW" altLang="en-US" sz="1400" kern="1200"/>
        </a:p>
      </dsp:txBody>
      <dsp:txXfrm>
        <a:off x="7354995" y="1887065"/>
        <a:ext cx="1631231" cy="721279"/>
      </dsp:txXfrm>
    </dsp:sp>
    <dsp:sp modelId="{19EF1439-B0D4-4A91-8370-4D2D0CC04ED1}">
      <dsp:nvSpPr>
        <dsp:cNvPr id="0" name=""/>
        <dsp:cNvSpPr/>
      </dsp:nvSpPr>
      <dsp:spPr>
        <a:xfrm>
          <a:off x="9070418" y="1673085"/>
          <a:ext cx="1984868" cy="766159"/>
        </a:xfrm>
        <a:prstGeom prst="chevron">
          <a:avLst>
            <a:gd name="adj" fmla="val 40000"/>
          </a:avLst>
        </a:prstGeom>
        <a:solidFill>
          <a:schemeClr val="accent2">
            <a:hueOff val="0"/>
            <a:satOff val="0"/>
            <a:lumOff val="490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11320F1-A10E-453C-8F3A-B94ACA9E3CE1}">
      <dsp:nvSpPr>
        <dsp:cNvPr id="0" name=""/>
        <dsp:cNvSpPr/>
      </dsp:nvSpPr>
      <dsp:spPr>
        <a:xfrm>
          <a:off x="9599716" y="1864625"/>
          <a:ext cx="1676111" cy="766159"/>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490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altLang="zh-TW" sz="1400" kern="1200"/>
            <a:t>Two ways feedback</a:t>
          </a:r>
        </a:p>
        <a:p>
          <a:pPr marL="0" lvl="0" indent="0" algn="ctr" defTabSz="622300">
            <a:lnSpc>
              <a:spcPct val="90000"/>
            </a:lnSpc>
            <a:spcBef>
              <a:spcPct val="0"/>
            </a:spcBef>
            <a:spcAft>
              <a:spcPct val="35000"/>
            </a:spcAft>
            <a:buNone/>
          </a:pPr>
          <a:r>
            <a:rPr lang="zh-TW" altLang="en-US" sz="1400" kern="1200"/>
            <a:t>雙向溝通</a:t>
          </a:r>
        </a:p>
      </dsp:txBody>
      <dsp:txXfrm>
        <a:off x="9622156" y="1887065"/>
        <a:ext cx="1631231" cy="7212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2A9762-49F8-4BC8-A93D-8E6CD1913A36}">
      <dsp:nvSpPr>
        <dsp:cNvPr id="0" name=""/>
        <dsp:cNvSpPr/>
      </dsp:nvSpPr>
      <dsp:spPr>
        <a:xfrm>
          <a:off x="1204" y="0"/>
          <a:ext cx="2217315" cy="716060"/>
        </a:xfrm>
        <a:prstGeom prst="chevron">
          <a:avLst>
            <a:gd name="adj" fmla="val 40000"/>
          </a:avLst>
        </a:prstGeom>
        <a:solidFill>
          <a:schemeClr val="tx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1C6C9E-8282-4C40-8631-33C07551F1BC}">
      <dsp:nvSpPr>
        <dsp:cNvPr id="0" name=""/>
        <dsp:cNvSpPr/>
      </dsp:nvSpPr>
      <dsp:spPr>
        <a:xfrm>
          <a:off x="592488" y="179015"/>
          <a:ext cx="1872399" cy="71606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altLang="zh-TW" sz="1600" kern="1200"/>
            <a:t>KSM / Raw materials</a:t>
          </a:r>
          <a:endParaRPr lang="zh-TW" altLang="en-US" sz="1600" kern="1200"/>
        </a:p>
      </dsp:txBody>
      <dsp:txXfrm>
        <a:off x="613461" y="199988"/>
        <a:ext cx="1830453" cy="6741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2A9762-49F8-4BC8-A93D-8E6CD1913A36}">
      <dsp:nvSpPr>
        <dsp:cNvPr id="0" name=""/>
        <dsp:cNvSpPr/>
      </dsp:nvSpPr>
      <dsp:spPr>
        <a:xfrm>
          <a:off x="1204" y="0"/>
          <a:ext cx="2217315" cy="716060"/>
        </a:xfrm>
        <a:prstGeom prst="chevron">
          <a:avLst>
            <a:gd name="adj" fmla="val 40000"/>
          </a:avLst>
        </a:prstGeom>
        <a:solidFill>
          <a:srgbClr val="92D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91C6C9E-8282-4C40-8631-33C07551F1BC}">
      <dsp:nvSpPr>
        <dsp:cNvPr id="0" name=""/>
        <dsp:cNvSpPr/>
      </dsp:nvSpPr>
      <dsp:spPr>
        <a:xfrm>
          <a:off x="592488" y="179015"/>
          <a:ext cx="1872399" cy="71606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en-US" altLang="zh-TW" sz="1400" kern="1200"/>
            <a:t>4 PL/ Transportation/ Distributor</a:t>
          </a:r>
          <a:endParaRPr lang="zh-TW" altLang="en-US" sz="1400" kern="1200"/>
        </a:p>
      </dsp:txBody>
      <dsp:txXfrm>
        <a:off x="613461" y="199988"/>
        <a:ext cx="1830453" cy="67411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FADECC-FFFE-4649-B597-71141896A723}">
      <dsp:nvSpPr>
        <dsp:cNvPr id="0" name=""/>
        <dsp:cNvSpPr/>
      </dsp:nvSpPr>
      <dsp:spPr>
        <a:xfrm>
          <a:off x="843756" y="828606"/>
          <a:ext cx="1920780" cy="192078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TW" altLang="en-US" sz="1500" kern="1200" dirty="0"/>
            <a:t>供應商管理</a:t>
          </a:r>
          <a:r>
            <a:rPr lang="en-US" altLang="zh-TW" sz="1500" kern="1200" dirty="0"/>
            <a:t>Supplier Management Program</a:t>
          </a:r>
          <a:endParaRPr lang="zh-TW" altLang="en-US" sz="1500" kern="1200" dirty="0"/>
        </a:p>
      </dsp:txBody>
      <dsp:txXfrm>
        <a:off x="1125048" y="1109898"/>
        <a:ext cx="1358196" cy="1358196"/>
      </dsp:txXfrm>
    </dsp:sp>
    <dsp:sp modelId="{6544119B-9898-4E92-A881-3C5A5EDCABB4}">
      <dsp:nvSpPr>
        <dsp:cNvPr id="0" name=""/>
        <dsp:cNvSpPr/>
      </dsp:nvSpPr>
      <dsp:spPr>
        <a:xfrm>
          <a:off x="1323951" y="59260"/>
          <a:ext cx="960390" cy="960390"/>
        </a:xfrm>
        <a:prstGeom prst="ellipse">
          <a:avLst/>
        </a:prstGeom>
        <a:solidFill>
          <a:srgbClr val="00B0F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鑑別</a:t>
          </a:r>
        </a:p>
      </dsp:txBody>
      <dsp:txXfrm>
        <a:off x="1464597" y="199906"/>
        <a:ext cx="679098" cy="679098"/>
      </dsp:txXfrm>
    </dsp:sp>
    <dsp:sp modelId="{D7EB4FD3-EBC6-4ED8-A4CF-EC65A30814E2}">
      <dsp:nvSpPr>
        <dsp:cNvPr id="0" name=""/>
        <dsp:cNvSpPr/>
      </dsp:nvSpPr>
      <dsp:spPr>
        <a:xfrm>
          <a:off x="2512336" y="92267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管理流程及方法</a:t>
          </a:r>
        </a:p>
      </dsp:txBody>
      <dsp:txXfrm>
        <a:off x="2652982" y="1063318"/>
        <a:ext cx="679098" cy="679098"/>
      </dsp:txXfrm>
    </dsp:sp>
    <dsp:sp modelId="{D73E7993-A23B-40BC-841C-34E163C466DA}">
      <dsp:nvSpPr>
        <dsp:cNvPr id="0" name=""/>
        <dsp:cNvSpPr/>
      </dsp:nvSpPr>
      <dsp:spPr>
        <a:xfrm>
          <a:off x="2058413" y="231970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風險評估</a:t>
          </a:r>
        </a:p>
      </dsp:txBody>
      <dsp:txXfrm>
        <a:off x="2199059" y="2460348"/>
        <a:ext cx="679098" cy="679098"/>
      </dsp:txXfrm>
    </dsp:sp>
    <dsp:sp modelId="{07E31676-4FA3-4A87-BC47-8E73AEEFB3E8}">
      <dsp:nvSpPr>
        <dsp:cNvPr id="0" name=""/>
        <dsp:cNvSpPr/>
      </dsp:nvSpPr>
      <dsp:spPr>
        <a:xfrm>
          <a:off x="589489" y="231970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評鑑</a:t>
          </a:r>
        </a:p>
      </dsp:txBody>
      <dsp:txXfrm>
        <a:off x="730135" y="2460348"/>
        <a:ext cx="679098" cy="679098"/>
      </dsp:txXfrm>
    </dsp:sp>
    <dsp:sp modelId="{41FABAD9-800C-44DC-BF14-7F6A4E991E33}">
      <dsp:nvSpPr>
        <dsp:cNvPr id="0" name=""/>
        <dsp:cNvSpPr/>
      </dsp:nvSpPr>
      <dsp:spPr>
        <a:xfrm>
          <a:off x="135567" y="92267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新供應商篩選</a:t>
          </a:r>
        </a:p>
      </dsp:txBody>
      <dsp:txXfrm>
        <a:off x="276213" y="1063318"/>
        <a:ext cx="679098" cy="67909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FADECC-FFFE-4649-B597-71141896A723}">
      <dsp:nvSpPr>
        <dsp:cNvPr id="0" name=""/>
        <dsp:cNvSpPr/>
      </dsp:nvSpPr>
      <dsp:spPr>
        <a:xfrm>
          <a:off x="843756" y="828606"/>
          <a:ext cx="1920780" cy="192078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TW" altLang="en-US" sz="1500" kern="1200" dirty="0"/>
            <a:t>供應商管理</a:t>
          </a:r>
          <a:r>
            <a:rPr lang="en-US" altLang="zh-TW" sz="1500" kern="1200" dirty="0"/>
            <a:t>Supplier Management Program</a:t>
          </a:r>
          <a:endParaRPr lang="zh-TW" altLang="en-US" sz="1500" kern="1200" dirty="0"/>
        </a:p>
      </dsp:txBody>
      <dsp:txXfrm>
        <a:off x="1125048" y="1109898"/>
        <a:ext cx="1358196" cy="1358196"/>
      </dsp:txXfrm>
    </dsp:sp>
    <dsp:sp modelId="{6544119B-9898-4E92-A881-3C5A5EDCABB4}">
      <dsp:nvSpPr>
        <dsp:cNvPr id="0" name=""/>
        <dsp:cNvSpPr/>
      </dsp:nvSpPr>
      <dsp:spPr>
        <a:xfrm>
          <a:off x="1323951" y="59260"/>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鑑別</a:t>
          </a:r>
        </a:p>
      </dsp:txBody>
      <dsp:txXfrm>
        <a:off x="1464597" y="199906"/>
        <a:ext cx="679098" cy="679098"/>
      </dsp:txXfrm>
    </dsp:sp>
    <dsp:sp modelId="{D7EB4FD3-EBC6-4ED8-A4CF-EC65A30814E2}">
      <dsp:nvSpPr>
        <dsp:cNvPr id="0" name=""/>
        <dsp:cNvSpPr/>
      </dsp:nvSpPr>
      <dsp:spPr>
        <a:xfrm>
          <a:off x="2512336" y="922672"/>
          <a:ext cx="960390" cy="960390"/>
        </a:xfrm>
        <a:prstGeom prst="ellipse">
          <a:avLst/>
        </a:prstGeom>
        <a:solidFill>
          <a:srgbClr val="00B0F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管理流程及方法</a:t>
          </a:r>
        </a:p>
      </dsp:txBody>
      <dsp:txXfrm>
        <a:off x="2652982" y="1063318"/>
        <a:ext cx="679098" cy="679098"/>
      </dsp:txXfrm>
    </dsp:sp>
    <dsp:sp modelId="{D73E7993-A23B-40BC-841C-34E163C466DA}">
      <dsp:nvSpPr>
        <dsp:cNvPr id="0" name=""/>
        <dsp:cNvSpPr/>
      </dsp:nvSpPr>
      <dsp:spPr>
        <a:xfrm>
          <a:off x="2058413" y="231970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風險評估</a:t>
          </a:r>
        </a:p>
      </dsp:txBody>
      <dsp:txXfrm>
        <a:off x="2199059" y="2460348"/>
        <a:ext cx="679098" cy="679098"/>
      </dsp:txXfrm>
    </dsp:sp>
    <dsp:sp modelId="{07E31676-4FA3-4A87-BC47-8E73AEEFB3E8}">
      <dsp:nvSpPr>
        <dsp:cNvPr id="0" name=""/>
        <dsp:cNvSpPr/>
      </dsp:nvSpPr>
      <dsp:spPr>
        <a:xfrm>
          <a:off x="589489" y="231970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評鑑</a:t>
          </a:r>
        </a:p>
      </dsp:txBody>
      <dsp:txXfrm>
        <a:off x="730135" y="2460348"/>
        <a:ext cx="679098" cy="679098"/>
      </dsp:txXfrm>
    </dsp:sp>
    <dsp:sp modelId="{41FABAD9-800C-44DC-BF14-7F6A4E991E33}">
      <dsp:nvSpPr>
        <dsp:cNvPr id="0" name=""/>
        <dsp:cNvSpPr/>
      </dsp:nvSpPr>
      <dsp:spPr>
        <a:xfrm>
          <a:off x="135567" y="92267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新供應商篩選</a:t>
          </a:r>
        </a:p>
      </dsp:txBody>
      <dsp:txXfrm>
        <a:off x="276213" y="1063318"/>
        <a:ext cx="679098" cy="67909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FADECC-FFFE-4649-B597-71141896A723}">
      <dsp:nvSpPr>
        <dsp:cNvPr id="0" name=""/>
        <dsp:cNvSpPr/>
      </dsp:nvSpPr>
      <dsp:spPr>
        <a:xfrm>
          <a:off x="843756" y="828606"/>
          <a:ext cx="1920780" cy="192078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TW" altLang="en-US" sz="1500" kern="1200" dirty="0"/>
            <a:t>供應商管理</a:t>
          </a:r>
          <a:r>
            <a:rPr lang="en-US" altLang="zh-TW" sz="1500" kern="1200" dirty="0"/>
            <a:t>Supplier Management Program</a:t>
          </a:r>
          <a:endParaRPr lang="zh-TW" altLang="en-US" sz="1500" kern="1200" dirty="0"/>
        </a:p>
      </dsp:txBody>
      <dsp:txXfrm>
        <a:off x="1125048" y="1109898"/>
        <a:ext cx="1358196" cy="1358196"/>
      </dsp:txXfrm>
    </dsp:sp>
    <dsp:sp modelId="{6544119B-9898-4E92-A881-3C5A5EDCABB4}">
      <dsp:nvSpPr>
        <dsp:cNvPr id="0" name=""/>
        <dsp:cNvSpPr/>
      </dsp:nvSpPr>
      <dsp:spPr>
        <a:xfrm>
          <a:off x="1323951" y="59260"/>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鑑別</a:t>
          </a:r>
        </a:p>
      </dsp:txBody>
      <dsp:txXfrm>
        <a:off x="1464597" y="199906"/>
        <a:ext cx="679098" cy="679098"/>
      </dsp:txXfrm>
    </dsp:sp>
    <dsp:sp modelId="{D7EB4FD3-EBC6-4ED8-A4CF-EC65A30814E2}">
      <dsp:nvSpPr>
        <dsp:cNvPr id="0" name=""/>
        <dsp:cNvSpPr/>
      </dsp:nvSpPr>
      <dsp:spPr>
        <a:xfrm>
          <a:off x="2512336" y="92267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管理流程及方法</a:t>
          </a:r>
        </a:p>
      </dsp:txBody>
      <dsp:txXfrm>
        <a:off x="2652982" y="1063318"/>
        <a:ext cx="679098" cy="679098"/>
      </dsp:txXfrm>
    </dsp:sp>
    <dsp:sp modelId="{D73E7993-A23B-40BC-841C-34E163C466DA}">
      <dsp:nvSpPr>
        <dsp:cNvPr id="0" name=""/>
        <dsp:cNvSpPr/>
      </dsp:nvSpPr>
      <dsp:spPr>
        <a:xfrm>
          <a:off x="2058413" y="231970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風險評估</a:t>
          </a:r>
        </a:p>
      </dsp:txBody>
      <dsp:txXfrm>
        <a:off x="2199059" y="2460348"/>
        <a:ext cx="679098" cy="679098"/>
      </dsp:txXfrm>
    </dsp:sp>
    <dsp:sp modelId="{07E31676-4FA3-4A87-BC47-8E73AEEFB3E8}">
      <dsp:nvSpPr>
        <dsp:cNvPr id="0" name=""/>
        <dsp:cNvSpPr/>
      </dsp:nvSpPr>
      <dsp:spPr>
        <a:xfrm>
          <a:off x="589489" y="231970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評鑑</a:t>
          </a:r>
        </a:p>
      </dsp:txBody>
      <dsp:txXfrm>
        <a:off x="730135" y="2460348"/>
        <a:ext cx="679098" cy="679098"/>
      </dsp:txXfrm>
    </dsp:sp>
    <dsp:sp modelId="{41FABAD9-800C-44DC-BF14-7F6A4E991E33}">
      <dsp:nvSpPr>
        <dsp:cNvPr id="0" name=""/>
        <dsp:cNvSpPr/>
      </dsp:nvSpPr>
      <dsp:spPr>
        <a:xfrm>
          <a:off x="135567" y="922672"/>
          <a:ext cx="960390" cy="960390"/>
        </a:xfrm>
        <a:prstGeom prst="ellipse">
          <a:avLst/>
        </a:prstGeom>
        <a:solidFill>
          <a:srgbClr val="00B0F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新供應商篩選</a:t>
          </a:r>
        </a:p>
      </dsp:txBody>
      <dsp:txXfrm>
        <a:off x="276213" y="1063318"/>
        <a:ext cx="679098" cy="67909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FADECC-FFFE-4649-B597-71141896A723}">
      <dsp:nvSpPr>
        <dsp:cNvPr id="0" name=""/>
        <dsp:cNvSpPr/>
      </dsp:nvSpPr>
      <dsp:spPr>
        <a:xfrm>
          <a:off x="843756" y="828606"/>
          <a:ext cx="1920780" cy="192078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TW" altLang="en-US" sz="1500" kern="1200" dirty="0"/>
            <a:t>供應商管理</a:t>
          </a:r>
          <a:endParaRPr lang="en-US" altLang="zh-TW" sz="1500" kern="1200" dirty="0"/>
        </a:p>
        <a:p>
          <a:pPr marL="0" lvl="0" indent="0" algn="ctr" defTabSz="666750">
            <a:lnSpc>
              <a:spcPct val="90000"/>
            </a:lnSpc>
            <a:spcBef>
              <a:spcPct val="0"/>
            </a:spcBef>
            <a:spcAft>
              <a:spcPct val="35000"/>
            </a:spcAft>
            <a:buNone/>
          </a:pPr>
          <a:r>
            <a:rPr lang="en-US" altLang="zh-TW" sz="1500" kern="1200" dirty="0"/>
            <a:t>Supplier Management Program</a:t>
          </a:r>
        </a:p>
      </dsp:txBody>
      <dsp:txXfrm>
        <a:off x="1125048" y="1109898"/>
        <a:ext cx="1358196" cy="1358196"/>
      </dsp:txXfrm>
    </dsp:sp>
    <dsp:sp modelId="{6544119B-9898-4E92-A881-3C5A5EDCABB4}">
      <dsp:nvSpPr>
        <dsp:cNvPr id="0" name=""/>
        <dsp:cNvSpPr/>
      </dsp:nvSpPr>
      <dsp:spPr>
        <a:xfrm>
          <a:off x="1323951" y="59260"/>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鑑別</a:t>
          </a:r>
          <a:endParaRPr lang="en-US" altLang="zh-TW" sz="1400" kern="1200"/>
        </a:p>
      </dsp:txBody>
      <dsp:txXfrm>
        <a:off x="1464597" y="199906"/>
        <a:ext cx="679098" cy="679098"/>
      </dsp:txXfrm>
    </dsp:sp>
    <dsp:sp modelId="{D7EB4FD3-EBC6-4ED8-A4CF-EC65A30814E2}">
      <dsp:nvSpPr>
        <dsp:cNvPr id="0" name=""/>
        <dsp:cNvSpPr/>
      </dsp:nvSpPr>
      <dsp:spPr>
        <a:xfrm>
          <a:off x="2512336" y="92267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管理流程及方法</a:t>
          </a:r>
        </a:p>
      </dsp:txBody>
      <dsp:txXfrm>
        <a:off x="2652982" y="1063318"/>
        <a:ext cx="679098" cy="679098"/>
      </dsp:txXfrm>
    </dsp:sp>
    <dsp:sp modelId="{D73E7993-A23B-40BC-841C-34E163C466DA}">
      <dsp:nvSpPr>
        <dsp:cNvPr id="0" name=""/>
        <dsp:cNvSpPr/>
      </dsp:nvSpPr>
      <dsp:spPr>
        <a:xfrm>
          <a:off x="2058413" y="2319702"/>
          <a:ext cx="960390" cy="960390"/>
        </a:xfrm>
        <a:prstGeom prst="ellipse">
          <a:avLst/>
        </a:prstGeom>
        <a:solidFill>
          <a:srgbClr val="00B0F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風險評估</a:t>
          </a:r>
        </a:p>
      </dsp:txBody>
      <dsp:txXfrm>
        <a:off x="2199059" y="2460348"/>
        <a:ext cx="679098" cy="679098"/>
      </dsp:txXfrm>
    </dsp:sp>
    <dsp:sp modelId="{07E31676-4FA3-4A87-BC47-8E73AEEFB3E8}">
      <dsp:nvSpPr>
        <dsp:cNvPr id="0" name=""/>
        <dsp:cNvSpPr/>
      </dsp:nvSpPr>
      <dsp:spPr>
        <a:xfrm>
          <a:off x="589489" y="2319702"/>
          <a:ext cx="960390" cy="960390"/>
        </a:xfrm>
        <a:prstGeom prst="ellipse">
          <a:avLst/>
        </a:prstGeom>
        <a:solidFill>
          <a:srgbClr val="00B0F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供應商評鑑</a:t>
          </a:r>
        </a:p>
      </dsp:txBody>
      <dsp:txXfrm>
        <a:off x="730135" y="2460348"/>
        <a:ext cx="679098" cy="679098"/>
      </dsp:txXfrm>
    </dsp:sp>
    <dsp:sp modelId="{41FABAD9-800C-44DC-BF14-7F6A4E991E33}">
      <dsp:nvSpPr>
        <dsp:cNvPr id="0" name=""/>
        <dsp:cNvSpPr/>
      </dsp:nvSpPr>
      <dsp:spPr>
        <a:xfrm>
          <a:off x="135567" y="922672"/>
          <a:ext cx="960390" cy="960390"/>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TW" altLang="en-US" sz="1400" kern="1200"/>
            <a:t>新供應商篩選</a:t>
          </a:r>
        </a:p>
      </dsp:txBody>
      <dsp:txXfrm>
        <a:off x="276213" y="1063318"/>
        <a:ext cx="679098" cy="679098"/>
      </dsp:txXfrm>
    </dsp:sp>
  </dsp:spTree>
</dsp:drawing>
</file>

<file path=ppt/diagrams/layout1.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Accent+Icon">
  <dgm:title val="Chevron Accent Process"/>
  <dgm:desc val="Use to show sequential steps in a task, process, or workflow, or to emphasize movement or direction. Works best with minimal Level 1 and Level 2 text."/>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2180FED-E18D-DE6A-7BD2-D206EE0D90B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TW" altLang="en-US"/>
          </a:p>
        </p:txBody>
      </p:sp>
      <p:sp>
        <p:nvSpPr>
          <p:cNvPr id="3" name="Date Placeholder 2">
            <a:extLst>
              <a:ext uri="{FF2B5EF4-FFF2-40B4-BE49-F238E27FC236}">
                <a16:creationId xmlns:a16="http://schemas.microsoft.com/office/drawing/2014/main" id="{B863DC3A-68A5-E9B9-D1DD-A2C65E5999A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39F0AEB-85D2-417E-9270-95A00D83C52C}" type="datetimeFigureOut">
              <a:rPr lang="zh-TW" altLang="en-US" smtClean="0"/>
              <a:t>2024/11/25</a:t>
            </a:fld>
            <a:endParaRPr lang="zh-TW" altLang="en-US"/>
          </a:p>
        </p:txBody>
      </p:sp>
      <p:sp>
        <p:nvSpPr>
          <p:cNvPr id="4" name="Footer Placeholder 3">
            <a:extLst>
              <a:ext uri="{FF2B5EF4-FFF2-40B4-BE49-F238E27FC236}">
                <a16:creationId xmlns:a16="http://schemas.microsoft.com/office/drawing/2014/main" id="{A36C9A49-5F60-8B81-051D-1195192C263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TW" altLang="en-US"/>
          </a:p>
        </p:txBody>
      </p:sp>
      <p:sp>
        <p:nvSpPr>
          <p:cNvPr id="5" name="Slide Number Placeholder 4">
            <a:extLst>
              <a:ext uri="{FF2B5EF4-FFF2-40B4-BE49-F238E27FC236}">
                <a16:creationId xmlns:a16="http://schemas.microsoft.com/office/drawing/2014/main" id="{8F77EF68-7456-D060-ABF3-227374D047C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5E77328-803D-4664-83A5-E800F971E971}" type="slidenum">
              <a:rPr lang="zh-TW" altLang="en-US" smtClean="0"/>
              <a:t>‹#›</a:t>
            </a:fld>
            <a:endParaRPr lang="zh-TW" altLang="en-US"/>
          </a:p>
        </p:txBody>
      </p:sp>
    </p:spTree>
    <p:extLst>
      <p:ext uri="{BB962C8B-B14F-4D97-AF65-F5344CB8AC3E}">
        <p14:creationId xmlns:p14="http://schemas.microsoft.com/office/powerpoint/2010/main" val="389230041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C86557-ADF2-43B5-AFF8-BD13CEE46954}" type="datetimeFigureOut">
              <a:rPr lang="zh-TW" altLang="en-US" smtClean="0"/>
              <a:t>2024/11/25</a:t>
            </a:fld>
            <a:endParaRPr lang="zh-TW" altLang="en-US"/>
          </a:p>
        </p:txBody>
      </p:sp>
      <p:sp>
        <p:nvSpPr>
          <p:cNvPr id="4" name="投影片影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F3028E-6A1C-4D90-8681-674706611F19}" type="slidenum">
              <a:rPr lang="zh-TW" altLang="en-US" smtClean="0"/>
              <a:t>‹#›</a:t>
            </a:fld>
            <a:endParaRPr lang="zh-TW" altLang="en-US"/>
          </a:p>
        </p:txBody>
      </p:sp>
    </p:spTree>
    <p:extLst>
      <p:ext uri="{BB962C8B-B14F-4D97-AF65-F5344CB8AC3E}">
        <p14:creationId xmlns:p14="http://schemas.microsoft.com/office/powerpoint/2010/main" val="160057937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1</a:t>
            </a:fld>
            <a:endParaRPr lang="zh-TW" altLang="en-US"/>
          </a:p>
        </p:txBody>
      </p:sp>
    </p:spTree>
    <p:extLst>
      <p:ext uri="{BB962C8B-B14F-4D97-AF65-F5344CB8AC3E}">
        <p14:creationId xmlns:p14="http://schemas.microsoft.com/office/powerpoint/2010/main" val="17732937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10</a:t>
            </a:fld>
            <a:endParaRPr lang="zh-TW" altLang="en-US"/>
          </a:p>
        </p:txBody>
      </p:sp>
    </p:spTree>
    <p:extLst>
      <p:ext uri="{BB962C8B-B14F-4D97-AF65-F5344CB8AC3E}">
        <p14:creationId xmlns:p14="http://schemas.microsoft.com/office/powerpoint/2010/main" val="28371951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0B94855-DD8A-4127-9A3F-79AD01AFDDB9}" type="slidenum">
              <a:rPr lang="en-US" smtClean="0"/>
              <a:t>11</a:t>
            </a:fld>
            <a:endParaRPr lang="en-US"/>
          </a:p>
        </p:txBody>
      </p:sp>
    </p:spTree>
    <p:extLst>
      <p:ext uri="{BB962C8B-B14F-4D97-AF65-F5344CB8AC3E}">
        <p14:creationId xmlns:p14="http://schemas.microsoft.com/office/powerpoint/2010/main" val="5411290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CDF3028E-6A1C-4D90-8681-674706611F19}" type="slidenum">
              <a:rPr lang="zh-TW" altLang="en-US" smtClean="0"/>
              <a:t>13</a:t>
            </a:fld>
            <a:endParaRPr lang="zh-TW" altLang="en-US"/>
          </a:p>
        </p:txBody>
      </p:sp>
    </p:spTree>
    <p:extLst>
      <p:ext uri="{BB962C8B-B14F-4D97-AF65-F5344CB8AC3E}">
        <p14:creationId xmlns:p14="http://schemas.microsoft.com/office/powerpoint/2010/main" val="2457286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15</a:t>
            </a:fld>
            <a:endParaRPr lang="zh-TW" altLang="en-US"/>
          </a:p>
        </p:txBody>
      </p:sp>
    </p:spTree>
    <p:extLst>
      <p:ext uri="{BB962C8B-B14F-4D97-AF65-F5344CB8AC3E}">
        <p14:creationId xmlns:p14="http://schemas.microsoft.com/office/powerpoint/2010/main" val="36308900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16</a:t>
            </a:fld>
            <a:endParaRPr lang="zh-TW" altLang="en-US"/>
          </a:p>
        </p:txBody>
      </p:sp>
    </p:spTree>
    <p:extLst>
      <p:ext uri="{BB962C8B-B14F-4D97-AF65-F5344CB8AC3E}">
        <p14:creationId xmlns:p14="http://schemas.microsoft.com/office/powerpoint/2010/main" val="19203767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CDF3028E-6A1C-4D90-8681-674706611F19}" type="slidenum">
              <a:rPr lang="zh-TW" altLang="en-US" smtClean="0"/>
              <a:t>17</a:t>
            </a:fld>
            <a:endParaRPr lang="zh-TW" altLang="en-US"/>
          </a:p>
        </p:txBody>
      </p:sp>
    </p:spTree>
    <p:extLst>
      <p:ext uri="{BB962C8B-B14F-4D97-AF65-F5344CB8AC3E}">
        <p14:creationId xmlns:p14="http://schemas.microsoft.com/office/powerpoint/2010/main" val="21591393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18</a:t>
            </a:fld>
            <a:endParaRPr lang="zh-TW" altLang="en-US"/>
          </a:p>
        </p:txBody>
      </p:sp>
    </p:spTree>
    <p:extLst>
      <p:ext uri="{BB962C8B-B14F-4D97-AF65-F5344CB8AC3E}">
        <p14:creationId xmlns:p14="http://schemas.microsoft.com/office/powerpoint/2010/main" val="2393771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19</a:t>
            </a:fld>
            <a:endParaRPr lang="zh-TW" altLang="en-US"/>
          </a:p>
        </p:txBody>
      </p:sp>
    </p:spTree>
    <p:extLst>
      <p:ext uri="{BB962C8B-B14F-4D97-AF65-F5344CB8AC3E}">
        <p14:creationId xmlns:p14="http://schemas.microsoft.com/office/powerpoint/2010/main" val="20043235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20</a:t>
            </a:fld>
            <a:endParaRPr lang="zh-TW" altLang="en-US"/>
          </a:p>
        </p:txBody>
      </p:sp>
    </p:spTree>
    <p:extLst>
      <p:ext uri="{BB962C8B-B14F-4D97-AF65-F5344CB8AC3E}">
        <p14:creationId xmlns:p14="http://schemas.microsoft.com/office/powerpoint/2010/main" val="27937985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21</a:t>
            </a:fld>
            <a:endParaRPr lang="zh-TW" altLang="en-US"/>
          </a:p>
        </p:txBody>
      </p:sp>
    </p:spTree>
    <p:extLst>
      <p:ext uri="{BB962C8B-B14F-4D97-AF65-F5344CB8AC3E}">
        <p14:creationId xmlns:p14="http://schemas.microsoft.com/office/powerpoint/2010/main" val="28666408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2</a:t>
            </a:fld>
            <a:endParaRPr lang="zh-TW" altLang="en-US"/>
          </a:p>
        </p:txBody>
      </p:sp>
    </p:spTree>
    <p:extLst>
      <p:ext uri="{BB962C8B-B14F-4D97-AF65-F5344CB8AC3E}">
        <p14:creationId xmlns:p14="http://schemas.microsoft.com/office/powerpoint/2010/main" val="33941888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CDF3028E-6A1C-4D90-8681-674706611F19}" type="slidenum">
              <a:rPr lang="zh-TW" altLang="en-US" smtClean="0"/>
              <a:t>22</a:t>
            </a:fld>
            <a:endParaRPr lang="zh-TW" altLang="en-US"/>
          </a:p>
        </p:txBody>
      </p:sp>
    </p:spTree>
    <p:extLst>
      <p:ext uri="{BB962C8B-B14F-4D97-AF65-F5344CB8AC3E}">
        <p14:creationId xmlns:p14="http://schemas.microsoft.com/office/powerpoint/2010/main" val="13245595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23</a:t>
            </a:fld>
            <a:endParaRPr lang="zh-TW" altLang="en-US"/>
          </a:p>
        </p:txBody>
      </p:sp>
    </p:spTree>
    <p:extLst>
      <p:ext uri="{BB962C8B-B14F-4D97-AF65-F5344CB8AC3E}">
        <p14:creationId xmlns:p14="http://schemas.microsoft.com/office/powerpoint/2010/main" val="39591050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24</a:t>
            </a:fld>
            <a:endParaRPr lang="zh-TW" altLang="en-US"/>
          </a:p>
        </p:txBody>
      </p:sp>
    </p:spTree>
    <p:extLst>
      <p:ext uri="{BB962C8B-B14F-4D97-AF65-F5344CB8AC3E}">
        <p14:creationId xmlns:p14="http://schemas.microsoft.com/office/powerpoint/2010/main" val="14878151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kern="100" dirty="0">
              <a:effectLst/>
              <a:latin typeface="Aptos" panose="020B0004020202020204" pitchFamily="34" charset="0"/>
              <a:ea typeface="新細明體" panose="02020500000000000000" pitchFamily="18" charset="-12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25</a:t>
            </a:fld>
            <a:endParaRPr lang="zh-TW" altLang="en-US"/>
          </a:p>
        </p:txBody>
      </p:sp>
    </p:spTree>
    <p:extLst>
      <p:ext uri="{BB962C8B-B14F-4D97-AF65-F5344CB8AC3E}">
        <p14:creationId xmlns:p14="http://schemas.microsoft.com/office/powerpoint/2010/main" val="23265549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26</a:t>
            </a:fld>
            <a:endParaRPr lang="zh-TW" altLang="en-US"/>
          </a:p>
        </p:txBody>
      </p:sp>
    </p:spTree>
    <p:extLst>
      <p:ext uri="{BB962C8B-B14F-4D97-AF65-F5344CB8AC3E}">
        <p14:creationId xmlns:p14="http://schemas.microsoft.com/office/powerpoint/2010/main" val="30472906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28</a:t>
            </a:fld>
            <a:endParaRPr lang="zh-TW" altLang="en-US"/>
          </a:p>
        </p:txBody>
      </p:sp>
    </p:spTree>
    <p:extLst>
      <p:ext uri="{BB962C8B-B14F-4D97-AF65-F5344CB8AC3E}">
        <p14:creationId xmlns:p14="http://schemas.microsoft.com/office/powerpoint/2010/main" val="1595583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29</a:t>
            </a:fld>
            <a:endParaRPr lang="zh-TW" altLang="en-US"/>
          </a:p>
        </p:txBody>
      </p:sp>
    </p:spTree>
    <p:extLst>
      <p:ext uri="{BB962C8B-B14F-4D97-AF65-F5344CB8AC3E}">
        <p14:creationId xmlns:p14="http://schemas.microsoft.com/office/powerpoint/2010/main" val="42265448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nSpc>
                <a:spcPct val="115000"/>
              </a:lnSpc>
              <a:spcAft>
                <a:spcPts val="800"/>
              </a:spcAft>
            </a:pPr>
            <a:endParaRPr lang="zh-TW" altLang="zh-TW" sz="1800" kern="100" dirty="0">
              <a:effectLst/>
              <a:latin typeface="Aptos" panose="020B0004020202020204" pitchFamily="34" charset="0"/>
              <a:ea typeface="新細明體" panose="02020500000000000000" pitchFamily="18" charset="-120"/>
              <a:cs typeface="Times New Roman" panose="02020603050405020304" pitchFamily="18" charset="0"/>
            </a:endParaRPr>
          </a:p>
        </p:txBody>
      </p:sp>
      <p:sp>
        <p:nvSpPr>
          <p:cNvPr id="4" name="投影片編號版面配置區 3"/>
          <p:cNvSpPr>
            <a:spLocks noGrp="1"/>
          </p:cNvSpPr>
          <p:nvPr>
            <p:ph type="sldNum" sz="quarter" idx="5"/>
          </p:nvPr>
        </p:nvSpPr>
        <p:spPr/>
        <p:txBody>
          <a:bodyPr/>
          <a:lstStyle/>
          <a:p>
            <a:fld id="{A0B94855-DD8A-4127-9A3F-79AD01AFDDB9}" type="slidenum">
              <a:rPr lang="en-US" smtClean="0"/>
              <a:pPr/>
              <a:t>33</a:t>
            </a:fld>
            <a:endParaRPr lang="en-US"/>
          </a:p>
        </p:txBody>
      </p:sp>
    </p:spTree>
    <p:extLst>
      <p:ext uri="{BB962C8B-B14F-4D97-AF65-F5344CB8AC3E}">
        <p14:creationId xmlns:p14="http://schemas.microsoft.com/office/powerpoint/2010/main" val="26122378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34</a:t>
            </a:fld>
            <a:endParaRPr lang="zh-TW" altLang="en-US"/>
          </a:p>
        </p:txBody>
      </p:sp>
    </p:spTree>
    <p:extLst>
      <p:ext uri="{BB962C8B-B14F-4D97-AF65-F5344CB8AC3E}">
        <p14:creationId xmlns:p14="http://schemas.microsoft.com/office/powerpoint/2010/main" val="41881972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35</a:t>
            </a:fld>
            <a:endParaRPr lang="zh-TW" altLang="en-US"/>
          </a:p>
        </p:txBody>
      </p:sp>
    </p:spTree>
    <p:extLst>
      <p:ext uri="{BB962C8B-B14F-4D97-AF65-F5344CB8AC3E}">
        <p14:creationId xmlns:p14="http://schemas.microsoft.com/office/powerpoint/2010/main" val="3473838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800"/>
              </a:spcAft>
            </a:pPr>
            <a:endParaRPr lang="zh-TW" altLang="zh-TW" sz="1800" kern="100" dirty="0">
              <a:effectLst/>
              <a:latin typeface="Aptos" panose="020B0004020202020204" pitchFamily="34" charset="0"/>
              <a:ea typeface="新細明體" panose="02020500000000000000" pitchFamily="18" charset="-12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3</a:t>
            </a:fld>
            <a:endParaRPr lang="zh-TW" altLang="en-US"/>
          </a:p>
        </p:txBody>
      </p:sp>
    </p:spTree>
    <p:extLst>
      <p:ext uri="{BB962C8B-B14F-4D97-AF65-F5344CB8AC3E}">
        <p14:creationId xmlns:p14="http://schemas.microsoft.com/office/powerpoint/2010/main" val="1050587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5"/>
          </p:nvPr>
        </p:nvSpPr>
        <p:spPr/>
        <p:txBody>
          <a:bodyPr/>
          <a:lstStyle/>
          <a:p>
            <a:fld id="{CDF3028E-6A1C-4D90-8681-674706611F19}" type="slidenum">
              <a:rPr lang="zh-TW" altLang="en-US" smtClean="0"/>
              <a:t>4</a:t>
            </a:fld>
            <a:endParaRPr lang="zh-TW" altLang="en-US"/>
          </a:p>
        </p:txBody>
      </p:sp>
    </p:spTree>
    <p:extLst>
      <p:ext uri="{BB962C8B-B14F-4D97-AF65-F5344CB8AC3E}">
        <p14:creationId xmlns:p14="http://schemas.microsoft.com/office/powerpoint/2010/main" val="354503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a:lnSpc>
                <a:spcPct val="115000"/>
              </a:lnSpc>
              <a:spcAft>
                <a:spcPts val="800"/>
              </a:spcAft>
            </a:pPr>
            <a:endParaRPr lang="zh-TW" altLang="zh-TW" sz="1800" kern="100" dirty="0">
              <a:effectLst/>
              <a:latin typeface="Aptos" panose="020B0004020202020204" pitchFamily="34" charset="0"/>
              <a:ea typeface="新細明體" panose="02020500000000000000" pitchFamily="18" charset="-120"/>
              <a:cs typeface="Times New Roman" panose="02020603050405020304" pitchFamily="18" charset="0"/>
            </a:endParaRPr>
          </a:p>
        </p:txBody>
      </p:sp>
      <p:sp>
        <p:nvSpPr>
          <p:cNvPr id="4" name="投影片編號版面配置區 3"/>
          <p:cNvSpPr>
            <a:spLocks noGrp="1"/>
          </p:cNvSpPr>
          <p:nvPr>
            <p:ph type="sldNum" sz="quarter" idx="5"/>
          </p:nvPr>
        </p:nvSpPr>
        <p:spPr/>
        <p:txBody>
          <a:bodyPr/>
          <a:lstStyle/>
          <a:p>
            <a:fld id="{A0B94855-DD8A-4127-9A3F-79AD01AFDDB9}" type="slidenum">
              <a:rPr lang="en-US" smtClean="0"/>
              <a:pPr/>
              <a:t>5</a:t>
            </a:fld>
            <a:endParaRPr lang="en-US"/>
          </a:p>
        </p:txBody>
      </p:sp>
    </p:spTree>
    <p:extLst>
      <p:ext uri="{BB962C8B-B14F-4D97-AF65-F5344CB8AC3E}">
        <p14:creationId xmlns:p14="http://schemas.microsoft.com/office/powerpoint/2010/main" val="16391274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800"/>
              </a:spcAft>
            </a:pPr>
            <a:endParaRPr lang="zh-TW" altLang="zh-TW" sz="1800" kern="100" dirty="0">
              <a:effectLst/>
              <a:latin typeface="Aptos" panose="020B0004020202020204" pitchFamily="34" charset="0"/>
              <a:ea typeface="新細明體" panose="02020500000000000000" pitchFamily="18" charset="-12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0B94855-DD8A-4127-9A3F-79AD01AFDDB9}" type="slidenum">
              <a:rPr lang="en-US" smtClean="0"/>
              <a:pPr/>
              <a:t>6</a:t>
            </a:fld>
            <a:endParaRPr lang="en-US"/>
          </a:p>
        </p:txBody>
      </p:sp>
    </p:spTree>
    <p:extLst>
      <p:ext uri="{BB962C8B-B14F-4D97-AF65-F5344CB8AC3E}">
        <p14:creationId xmlns:p14="http://schemas.microsoft.com/office/powerpoint/2010/main" val="2748380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7</a:t>
            </a:fld>
            <a:endParaRPr lang="zh-TW" altLang="en-US"/>
          </a:p>
        </p:txBody>
      </p:sp>
    </p:spTree>
    <p:extLst>
      <p:ext uri="{BB962C8B-B14F-4D97-AF65-F5344CB8AC3E}">
        <p14:creationId xmlns:p14="http://schemas.microsoft.com/office/powerpoint/2010/main" val="29855383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8</a:t>
            </a:fld>
            <a:endParaRPr lang="zh-TW" altLang="en-US"/>
          </a:p>
        </p:txBody>
      </p:sp>
    </p:spTree>
    <p:extLst>
      <p:ext uri="{BB962C8B-B14F-4D97-AF65-F5344CB8AC3E}">
        <p14:creationId xmlns:p14="http://schemas.microsoft.com/office/powerpoint/2010/main" val="1969369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DF3028E-6A1C-4D90-8681-674706611F19}" type="slidenum">
              <a:rPr lang="zh-TW" altLang="en-US" smtClean="0"/>
              <a:t>9</a:t>
            </a:fld>
            <a:endParaRPr lang="zh-TW" altLang="en-US"/>
          </a:p>
        </p:txBody>
      </p:sp>
    </p:spTree>
    <p:extLst>
      <p:ext uri="{BB962C8B-B14F-4D97-AF65-F5344CB8AC3E}">
        <p14:creationId xmlns:p14="http://schemas.microsoft.com/office/powerpoint/2010/main" val="34379802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1_Title Slide">
    <p:spTree>
      <p:nvGrpSpPr>
        <p:cNvPr id="1" name=""/>
        <p:cNvGrpSpPr/>
        <p:nvPr/>
      </p:nvGrpSpPr>
      <p:grpSpPr>
        <a:xfrm>
          <a:off x="0" y="0"/>
          <a:ext cx="0" cy="0"/>
          <a:chOff x="0" y="0"/>
          <a:chExt cx="0" cy="0"/>
        </a:xfrm>
      </p:grpSpPr>
      <p:pic>
        <p:nvPicPr>
          <p:cNvPr id="26" name="圖片 25">
            <a:extLst>
              <a:ext uri="{FF2B5EF4-FFF2-40B4-BE49-F238E27FC236}">
                <a16:creationId xmlns:a16="http://schemas.microsoft.com/office/drawing/2014/main" id="{A53FAFE4-17B8-47DA-B4BF-91884758C3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7" name="文字方塊 26">
            <a:extLst>
              <a:ext uri="{FF2B5EF4-FFF2-40B4-BE49-F238E27FC236}">
                <a16:creationId xmlns:a16="http://schemas.microsoft.com/office/drawing/2014/main" id="{02EEF068-0330-4080-9EBA-B309B8C11301}"/>
              </a:ext>
            </a:extLst>
          </p:cNvPr>
          <p:cNvSpPr txBox="1"/>
          <p:nvPr userDrawn="1"/>
        </p:nvSpPr>
        <p:spPr>
          <a:xfrm>
            <a:off x="9614427" y="6435359"/>
            <a:ext cx="2956362" cy="261610"/>
          </a:xfrm>
          <a:prstGeom prst="rect">
            <a:avLst/>
          </a:prstGeom>
          <a:noFill/>
        </p:spPr>
        <p:txBody>
          <a:bodyPr wrap="square" rtlCol="0">
            <a:spAutoFit/>
          </a:bodyPr>
          <a:lstStyle/>
          <a:p>
            <a:r>
              <a:rPr lang="en-US" altLang="zh-TW" sz="1050">
                <a:solidFill>
                  <a:srgbClr val="FFCC00"/>
                </a:solidFill>
              </a:rPr>
              <a:t>© LOTUS ALL RIGHTS RESERVED</a:t>
            </a:r>
            <a:endParaRPr lang="zh-TW" altLang="en-US" sz="1050">
              <a:solidFill>
                <a:srgbClr val="FFCC00"/>
              </a:solidFill>
            </a:endParaRPr>
          </a:p>
        </p:txBody>
      </p:sp>
      <p:sp>
        <p:nvSpPr>
          <p:cNvPr id="29" name="Rectangle 13">
            <a:extLst>
              <a:ext uri="{FF2B5EF4-FFF2-40B4-BE49-F238E27FC236}">
                <a16:creationId xmlns:a16="http://schemas.microsoft.com/office/drawing/2014/main" id="{EA7E28FD-0037-470B-AB2C-AA82D82E319F}"/>
              </a:ext>
            </a:extLst>
          </p:cNvPr>
          <p:cNvSpPr/>
          <p:nvPr userDrawn="1"/>
        </p:nvSpPr>
        <p:spPr>
          <a:xfrm>
            <a:off x="979960" y="1937508"/>
            <a:ext cx="6781806" cy="2985366"/>
          </a:xfrm>
          <a:prstGeom prst="rect">
            <a:avLst/>
          </a:prstGeom>
          <a:solidFill>
            <a:schemeClr val="accent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16">
            <a:extLst>
              <a:ext uri="{FF2B5EF4-FFF2-40B4-BE49-F238E27FC236}">
                <a16:creationId xmlns:a16="http://schemas.microsoft.com/office/drawing/2014/main" id="{380B41EB-A8AC-4EBE-9A96-7E6EA3075193}"/>
              </a:ext>
            </a:extLst>
          </p:cNvPr>
          <p:cNvSpPr/>
          <p:nvPr userDrawn="1"/>
        </p:nvSpPr>
        <p:spPr>
          <a:xfrm>
            <a:off x="1633870" y="3661913"/>
            <a:ext cx="772998"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solidFill>
                <a:prstClr val="white"/>
              </a:solidFill>
            </a:endParaRPr>
          </a:p>
        </p:txBody>
      </p:sp>
      <p:sp>
        <p:nvSpPr>
          <p:cNvPr id="31" name="Title 1">
            <a:extLst>
              <a:ext uri="{FF2B5EF4-FFF2-40B4-BE49-F238E27FC236}">
                <a16:creationId xmlns:a16="http://schemas.microsoft.com/office/drawing/2014/main" id="{EC2751DC-8577-4FE5-8F4C-1459A749C804}"/>
              </a:ext>
            </a:extLst>
          </p:cNvPr>
          <p:cNvSpPr>
            <a:spLocks noGrp="1"/>
          </p:cNvSpPr>
          <p:nvPr>
            <p:ph type="ctrTitle" hasCustomPrompt="1"/>
          </p:nvPr>
        </p:nvSpPr>
        <p:spPr>
          <a:xfrm>
            <a:off x="1633870" y="2620380"/>
            <a:ext cx="5600700" cy="886397"/>
          </a:xfrm>
        </p:spPr>
        <p:txBody>
          <a:bodyPr anchor="b"/>
          <a:lstStyle>
            <a:lvl1pPr marL="0" algn="l" defTabSz="914400" rtl="0" eaLnBrk="1" latinLnBrk="0" hangingPunct="1">
              <a:defRPr lang="en-US" sz="3200" b="0" kern="1200" dirty="0">
                <a:solidFill>
                  <a:schemeClr val="bg1"/>
                </a:solidFill>
                <a:latin typeface="+mj-lt"/>
                <a:ea typeface="+mn-ea"/>
                <a:cs typeface="+mn-cs"/>
              </a:defRPr>
            </a:lvl1pPr>
          </a:lstStyle>
          <a:p>
            <a:r>
              <a:rPr lang="en-US"/>
              <a:t>CLICK TO EDIT MASTER TITLE STYLE</a:t>
            </a:r>
          </a:p>
        </p:txBody>
      </p:sp>
      <p:sp>
        <p:nvSpPr>
          <p:cNvPr id="32" name="Subtitle 2">
            <a:extLst>
              <a:ext uri="{FF2B5EF4-FFF2-40B4-BE49-F238E27FC236}">
                <a16:creationId xmlns:a16="http://schemas.microsoft.com/office/drawing/2014/main" id="{8C2C6C28-DBDE-4E67-9962-C9CC66AA05FC}"/>
              </a:ext>
            </a:extLst>
          </p:cNvPr>
          <p:cNvSpPr>
            <a:spLocks noGrp="1"/>
          </p:cNvSpPr>
          <p:nvPr>
            <p:ph type="subTitle" idx="1" hasCustomPrompt="1"/>
          </p:nvPr>
        </p:nvSpPr>
        <p:spPr>
          <a:xfrm>
            <a:off x="1633870" y="3847177"/>
            <a:ext cx="5600700" cy="276999"/>
          </a:xfrm>
        </p:spPr>
        <p:txBody>
          <a:bodyPr wrap="square" lIns="0" tIns="0" rIns="0" bIns="0">
            <a:spAutoFit/>
          </a:bodyPr>
          <a:lstStyle>
            <a:lvl1pPr marL="0" indent="0" algn="l" defTabSz="914400" rtl="0" eaLnBrk="1" latinLnBrk="0" hangingPunct="1">
              <a:buNone/>
              <a:defRPr lang="en-US" sz="1800" kern="120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3" name="Picture 10" descr="lotus_alvogen_logos-01.png">
            <a:extLst>
              <a:ext uri="{FF2B5EF4-FFF2-40B4-BE49-F238E27FC236}">
                <a16:creationId xmlns:a16="http://schemas.microsoft.com/office/drawing/2014/main" id="{00F7A81D-B057-4730-8F5E-A709356AE11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167" t="32431" r="11163" b="23811"/>
          <a:stretch/>
        </p:blipFill>
        <p:spPr>
          <a:xfrm>
            <a:off x="1117284" y="1196538"/>
            <a:ext cx="1588552" cy="489587"/>
          </a:xfrm>
          <a:prstGeom prst="rect">
            <a:avLst/>
          </a:prstGeom>
        </p:spPr>
      </p:pic>
    </p:spTree>
    <p:extLst>
      <p:ext uri="{BB962C8B-B14F-4D97-AF65-F5344CB8AC3E}">
        <p14:creationId xmlns:p14="http://schemas.microsoft.com/office/powerpoint/2010/main" val="26197280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436BE21-D4F0-C040-88D0-81BAA3FDA67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0FC82CC-683C-2542-87E1-E501E6BC458F}"/>
              </a:ext>
            </a:extLst>
          </p:cNvPr>
          <p:cNvSpPr/>
          <p:nvPr userDrawn="1"/>
        </p:nvSpPr>
        <p:spPr>
          <a:xfrm>
            <a:off x="7761765" y="0"/>
            <a:ext cx="443023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6D65E45-EF91-7E40-AA0C-38A98C4384C1}"/>
              </a:ext>
            </a:extLst>
          </p:cNvPr>
          <p:cNvSpPr/>
          <p:nvPr userDrawn="1"/>
        </p:nvSpPr>
        <p:spPr>
          <a:xfrm>
            <a:off x="5082361" y="-1"/>
            <a:ext cx="4997303" cy="5874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lotus_alvogen_logos-01.png">
            <a:extLst>
              <a:ext uri="{FF2B5EF4-FFF2-40B4-BE49-F238E27FC236}">
                <a16:creationId xmlns:a16="http://schemas.microsoft.com/office/drawing/2014/main" id="{1F967956-42D1-4252-AA62-1FB772B8CFB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61167" t="32431" r="11163" b="23811"/>
          <a:stretch/>
        </p:blipFill>
        <p:spPr>
          <a:xfrm>
            <a:off x="691154" y="441930"/>
            <a:ext cx="1588552" cy="489587"/>
          </a:xfrm>
          <a:prstGeom prst="rect">
            <a:avLst/>
          </a:prstGeom>
        </p:spPr>
      </p:pic>
    </p:spTree>
    <p:extLst>
      <p:ext uri="{BB962C8B-B14F-4D97-AF65-F5344CB8AC3E}">
        <p14:creationId xmlns:p14="http://schemas.microsoft.com/office/powerpoint/2010/main" val="17278400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5" name="Rectangle 20">
            <a:extLst>
              <a:ext uri="{FF2B5EF4-FFF2-40B4-BE49-F238E27FC236}">
                <a16:creationId xmlns:a16="http://schemas.microsoft.com/office/drawing/2014/main" id="{CB64CC28-0699-44F5-82D0-951028C71A0C}"/>
              </a:ext>
            </a:extLst>
          </p:cNvPr>
          <p:cNvSpPr/>
          <p:nvPr userDrawn="1"/>
        </p:nvSpPr>
        <p:spPr>
          <a:xfrm>
            <a:off x="3269017" y="401612"/>
            <a:ext cx="8058150" cy="5805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40080" tIns="182880" rIns="365760" bIns="182880" rtlCol="0" anchor="t"/>
          <a:lstStyle/>
          <a:p>
            <a:pPr algn="l">
              <a:lnSpc>
                <a:spcPct val="120000"/>
              </a:lnSpc>
            </a:pPr>
            <a:endParaRPr lang="en-US" sz="1400">
              <a:solidFill>
                <a:schemeClr val="tx1"/>
              </a:solidFill>
            </a:endParaRPr>
          </a:p>
        </p:txBody>
      </p:sp>
      <p:sp>
        <p:nvSpPr>
          <p:cNvPr id="6" name="Rectangle 21">
            <a:extLst>
              <a:ext uri="{FF2B5EF4-FFF2-40B4-BE49-F238E27FC236}">
                <a16:creationId xmlns:a16="http://schemas.microsoft.com/office/drawing/2014/main" id="{4F505B05-55C6-4E73-A0AB-1E5D74C1776F}"/>
              </a:ext>
            </a:extLst>
          </p:cNvPr>
          <p:cNvSpPr/>
          <p:nvPr userDrawn="1"/>
        </p:nvSpPr>
        <p:spPr>
          <a:xfrm>
            <a:off x="0" y="1104255"/>
            <a:ext cx="3543300" cy="232474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en-US" sz="3200" b="1">
                <a:solidFill>
                  <a:schemeClr val="tx1"/>
                </a:solidFill>
              </a:rPr>
              <a:t> </a:t>
            </a:r>
            <a:br>
              <a:rPr lang="en-US" sz="3200" b="1">
                <a:solidFill>
                  <a:schemeClr val="tx1"/>
                </a:solidFill>
              </a:rPr>
            </a:br>
            <a:endParaRPr lang="en-US" sz="3200" b="1">
              <a:solidFill>
                <a:schemeClr val="tx1"/>
              </a:solidFill>
            </a:endParaRPr>
          </a:p>
        </p:txBody>
      </p:sp>
    </p:spTree>
    <p:extLst>
      <p:ext uri="{BB962C8B-B14F-4D97-AF65-F5344CB8AC3E}">
        <p14:creationId xmlns:p14="http://schemas.microsoft.com/office/powerpoint/2010/main" val="17605966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EFF7F3-CAD3-4FA3-BF59-06935775E0C2}"/>
              </a:ext>
            </a:extLst>
          </p:cNvPr>
          <p:cNvSpPr>
            <a:spLocks noGrp="1"/>
          </p:cNvSpPr>
          <p:nvPr>
            <p:ph type="body" sz="quarter" idx="13"/>
          </p:nvPr>
        </p:nvSpPr>
        <p:spPr>
          <a:xfrm>
            <a:off x="588339" y="1788167"/>
            <a:ext cx="9368367" cy="4223113"/>
          </a:xfrm>
        </p:spPr>
        <p:txBody>
          <a:bodyPr/>
          <a:lstStyle>
            <a:lvl1pPr>
              <a:lnSpc>
                <a:spcPct val="100000"/>
              </a:lnSpc>
              <a:spcBef>
                <a:spcPts val="1000"/>
              </a:spcBef>
              <a:defRPr/>
            </a:lvl1pPr>
            <a:lvl2pPr>
              <a:lnSpc>
                <a:spcPct val="100000"/>
              </a:lnSpc>
              <a:spcBef>
                <a:spcPts val="1000"/>
              </a:spcBef>
              <a:defRPr/>
            </a:lvl2pPr>
            <a:lvl3pPr>
              <a:lnSpc>
                <a:spcPct val="100000"/>
              </a:lnSpc>
              <a:spcBef>
                <a:spcPts val="1000"/>
              </a:spcBef>
              <a:defRPr/>
            </a:lvl3pPr>
            <a:lvl4pPr>
              <a:lnSpc>
                <a:spcPct val="100000"/>
              </a:lnSpc>
              <a:spcBef>
                <a:spcPts val="1000"/>
              </a:spcBef>
              <a:defRPr/>
            </a:lvl4pPr>
            <a:lvl5pPr>
              <a:lnSpc>
                <a:spcPct val="100000"/>
              </a:lnSpc>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4">
            <a:extLst>
              <a:ext uri="{FF2B5EF4-FFF2-40B4-BE49-F238E27FC236}">
                <a16:creationId xmlns:a16="http://schemas.microsoft.com/office/drawing/2014/main" id="{AAC2DF15-CA86-294D-BCD6-72987179A417}"/>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9" name="Title 1">
            <a:extLst>
              <a:ext uri="{FF2B5EF4-FFF2-40B4-BE49-F238E27FC236}">
                <a16:creationId xmlns:a16="http://schemas.microsoft.com/office/drawing/2014/main" id="{C08EE013-9F2A-4043-8418-084534F4EB2F}"/>
              </a:ext>
            </a:extLst>
          </p:cNvPr>
          <p:cNvSpPr>
            <a:spLocks noGrp="1"/>
          </p:cNvSpPr>
          <p:nvPr>
            <p:ph type="title" hasCustomPrompt="1"/>
          </p:nvPr>
        </p:nvSpPr>
        <p:spPr>
          <a:xfrm>
            <a:off x="598311" y="795528"/>
            <a:ext cx="9504181" cy="360099"/>
          </a:xfrm>
        </p:spPr>
        <p:txBody>
          <a:bodyPr/>
          <a:lstStyle>
            <a:lvl1pPr>
              <a:defRPr sz="2600"/>
            </a:lvl1pPr>
          </a:lstStyle>
          <a:p>
            <a:r>
              <a:rPr lang="en-US"/>
              <a:t>CLICK TO EDIT MASTER TITLE STYLE</a:t>
            </a:r>
          </a:p>
        </p:txBody>
      </p:sp>
    </p:spTree>
    <p:extLst>
      <p:ext uri="{BB962C8B-B14F-4D97-AF65-F5344CB8AC3E}">
        <p14:creationId xmlns:p14="http://schemas.microsoft.com/office/powerpoint/2010/main" val="54174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6" name="Text Placeholder 5"/>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
        <p:nvSpPr>
          <p:cNvPr id="9" name="Slide Number Placeholder 4">
            <a:extLst>
              <a:ext uri="{FF2B5EF4-FFF2-40B4-BE49-F238E27FC236}">
                <a16:creationId xmlns:a16="http://schemas.microsoft.com/office/drawing/2014/main" id="{FA27262A-74A7-AF42-8BDE-BD49B53E6381}"/>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11" name="Text Placeholder 3">
            <a:extLst>
              <a:ext uri="{FF2B5EF4-FFF2-40B4-BE49-F238E27FC236}">
                <a16:creationId xmlns:a16="http://schemas.microsoft.com/office/drawing/2014/main" id="{C8471E91-9107-C04A-98B0-AAC00B9DD994}"/>
              </a:ext>
            </a:extLst>
          </p:cNvPr>
          <p:cNvSpPr>
            <a:spLocks noGrp="1"/>
          </p:cNvSpPr>
          <p:nvPr>
            <p:ph type="body" sz="quarter" idx="14"/>
          </p:nvPr>
        </p:nvSpPr>
        <p:spPr>
          <a:xfrm>
            <a:off x="588339" y="1788167"/>
            <a:ext cx="9368367" cy="4223113"/>
          </a:xfrm>
        </p:spPr>
        <p:txBody>
          <a:bodyPr/>
          <a:lstStyle>
            <a:lvl1pPr>
              <a:lnSpc>
                <a:spcPct val="100000"/>
              </a:lnSpc>
              <a:spcBef>
                <a:spcPts val="1000"/>
              </a:spcBef>
              <a:defRPr/>
            </a:lvl1pPr>
            <a:lvl2pPr>
              <a:lnSpc>
                <a:spcPct val="100000"/>
              </a:lnSpc>
              <a:spcBef>
                <a:spcPts val="1000"/>
              </a:spcBef>
              <a:defRPr/>
            </a:lvl2pPr>
            <a:lvl3pPr>
              <a:lnSpc>
                <a:spcPct val="100000"/>
              </a:lnSpc>
              <a:spcBef>
                <a:spcPts val="1000"/>
              </a:spcBef>
              <a:defRPr/>
            </a:lvl3pPr>
            <a:lvl4pPr>
              <a:lnSpc>
                <a:spcPct val="100000"/>
              </a:lnSpc>
              <a:spcBef>
                <a:spcPts val="1000"/>
              </a:spcBef>
              <a:defRPr/>
            </a:lvl4pPr>
            <a:lvl5pPr>
              <a:lnSpc>
                <a:spcPct val="100000"/>
              </a:lnSpc>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548642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98311" y="1604865"/>
            <a:ext cx="5421489" cy="4572098"/>
          </a:xfrm>
        </p:spPr>
        <p:txBody>
          <a:bodyPr lIns="0" tIns="0" rIns="0" bIns="0"/>
          <a:lstStyle>
            <a:lvl1pPr>
              <a:spcBef>
                <a:spcPts val="1000"/>
              </a:spcBef>
              <a:defRPr/>
            </a:lvl1pPr>
            <a:lvl2pPr>
              <a:spcBef>
                <a:spcPts val="1000"/>
              </a:spcBef>
              <a:defRPr/>
            </a:lvl2pPr>
            <a:lvl3pPr>
              <a:spcBef>
                <a:spcPts val="1000"/>
              </a:spcBef>
              <a:defRPr/>
            </a:lvl3pPr>
            <a:lvl4pPr>
              <a:spcBef>
                <a:spcPts val="1000"/>
              </a:spcBef>
              <a:defRPr/>
            </a:lvl4pPr>
            <a:lvl5pPr>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2" y="1604865"/>
            <a:ext cx="5181598" cy="4572098"/>
          </a:xfrm>
        </p:spPr>
        <p:txBody>
          <a:bodyPr lIns="0" tIns="0" rIns="0" bIns="0"/>
          <a:lstStyle>
            <a:lvl1pPr>
              <a:spcBef>
                <a:spcPts val="1000"/>
              </a:spcBef>
              <a:defRPr/>
            </a:lvl1pPr>
            <a:lvl2pPr>
              <a:spcBef>
                <a:spcPts val="1000"/>
              </a:spcBef>
              <a:defRPr/>
            </a:lvl2pPr>
            <a:lvl3pPr>
              <a:spcBef>
                <a:spcPts val="1000"/>
              </a:spcBef>
              <a:defRPr/>
            </a:lvl3pPr>
            <a:lvl4pPr>
              <a:spcBef>
                <a:spcPts val="1000"/>
              </a:spcBef>
              <a:defRPr/>
            </a:lvl4pPr>
            <a:lvl5pPr>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4">
            <a:extLst>
              <a:ext uri="{FF2B5EF4-FFF2-40B4-BE49-F238E27FC236}">
                <a16:creationId xmlns:a16="http://schemas.microsoft.com/office/drawing/2014/main" id="{423858A4-03C7-CE41-8916-C47FD19E2E6A}"/>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7" name="Title 1">
            <a:extLst>
              <a:ext uri="{FF2B5EF4-FFF2-40B4-BE49-F238E27FC236}">
                <a16:creationId xmlns:a16="http://schemas.microsoft.com/office/drawing/2014/main" id="{A1049481-C21A-4950-B9ED-D3902016146C}"/>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8" name="Text Placeholder 5">
            <a:extLst>
              <a:ext uri="{FF2B5EF4-FFF2-40B4-BE49-F238E27FC236}">
                <a16:creationId xmlns:a16="http://schemas.microsoft.com/office/drawing/2014/main" id="{34669E48-1D6F-4107-BDE9-27036E087C85}"/>
              </a:ext>
            </a:extLst>
          </p:cNvPr>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13692171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9544D16-E311-5840-BABF-D23F36A2EE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780921" y="1690256"/>
            <a:ext cx="3816929" cy="4615456"/>
          </a:xfrm>
          <a:prstGeom prst="rect">
            <a:avLst/>
          </a:prstGeom>
        </p:spPr>
      </p:pic>
      <p:sp>
        <p:nvSpPr>
          <p:cNvPr id="7" name="Slide Number Placeholder 4">
            <a:extLst>
              <a:ext uri="{FF2B5EF4-FFF2-40B4-BE49-F238E27FC236}">
                <a16:creationId xmlns:a16="http://schemas.microsoft.com/office/drawing/2014/main" id="{BDBDDEF2-DF1E-8A4C-8155-B5BEBE8337A4}"/>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9" name="Text Placeholder 3">
            <a:extLst>
              <a:ext uri="{FF2B5EF4-FFF2-40B4-BE49-F238E27FC236}">
                <a16:creationId xmlns:a16="http://schemas.microsoft.com/office/drawing/2014/main" id="{DE2629BC-E41B-7F40-A9BE-A8A8E5792D47}"/>
              </a:ext>
            </a:extLst>
          </p:cNvPr>
          <p:cNvSpPr>
            <a:spLocks noGrp="1"/>
          </p:cNvSpPr>
          <p:nvPr>
            <p:ph type="body" sz="quarter" idx="14"/>
          </p:nvPr>
        </p:nvSpPr>
        <p:spPr>
          <a:xfrm>
            <a:off x="598312" y="1814945"/>
            <a:ext cx="6744598" cy="4216363"/>
          </a:xfrm>
        </p:spPr>
        <p:txBody>
          <a:bodyPr/>
          <a:lstStyle>
            <a:lvl1pPr>
              <a:lnSpc>
                <a:spcPct val="100000"/>
              </a:lnSpc>
              <a:spcBef>
                <a:spcPts val="1000"/>
              </a:spcBef>
              <a:defRPr/>
            </a:lvl1pPr>
            <a:lvl2pPr>
              <a:lnSpc>
                <a:spcPct val="100000"/>
              </a:lnSpc>
              <a:spcBef>
                <a:spcPts val="1000"/>
              </a:spcBef>
              <a:defRPr/>
            </a:lvl2pPr>
            <a:lvl3pPr>
              <a:lnSpc>
                <a:spcPct val="100000"/>
              </a:lnSpc>
              <a:spcBef>
                <a:spcPts val="1000"/>
              </a:spcBef>
              <a:defRPr/>
            </a:lvl3pPr>
            <a:lvl4pPr>
              <a:lnSpc>
                <a:spcPct val="100000"/>
              </a:lnSpc>
              <a:spcBef>
                <a:spcPts val="1000"/>
              </a:spcBef>
              <a:defRPr/>
            </a:lvl4pPr>
            <a:lvl5pPr>
              <a:lnSpc>
                <a:spcPct val="100000"/>
              </a:lnSpc>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323684E2-4E29-4EAF-84CD-ACCC8E359298}"/>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11" name="Text Placeholder 5">
            <a:extLst>
              <a:ext uri="{FF2B5EF4-FFF2-40B4-BE49-F238E27FC236}">
                <a16:creationId xmlns:a16="http://schemas.microsoft.com/office/drawing/2014/main" id="{1068C585-EB01-4E4F-8C3A-8EAE58C0707F}"/>
              </a:ext>
            </a:extLst>
          </p:cNvPr>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41278510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9544D16-E311-5840-BABF-D23F36A2EE2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111" b="-266"/>
          <a:stretch/>
        </p:blipFill>
        <p:spPr>
          <a:xfrm>
            <a:off x="7780921" y="1814945"/>
            <a:ext cx="3816929" cy="4502728"/>
          </a:xfrm>
          <a:prstGeom prst="rect">
            <a:avLst/>
          </a:prstGeom>
        </p:spPr>
      </p:pic>
      <p:sp>
        <p:nvSpPr>
          <p:cNvPr id="7" name="Slide Number Placeholder 4">
            <a:extLst>
              <a:ext uri="{FF2B5EF4-FFF2-40B4-BE49-F238E27FC236}">
                <a16:creationId xmlns:a16="http://schemas.microsoft.com/office/drawing/2014/main" id="{BDBDDEF2-DF1E-8A4C-8155-B5BEBE8337A4}"/>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9" name="Text Placeholder 3">
            <a:extLst>
              <a:ext uri="{FF2B5EF4-FFF2-40B4-BE49-F238E27FC236}">
                <a16:creationId xmlns:a16="http://schemas.microsoft.com/office/drawing/2014/main" id="{DE2629BC-E41B-7F40-A9BE-A8A8E5792D47}"/>
              </a:ext>
            </a:extLst>
          </p:cNvPr>
          <p:cNvSpPr>
            <a:spLocks noGrp="1"/>
          </p:cNvSpPr>
          <p:nvPr>
            <p:ph type="body" sz="quarter" idx="14"/>
          </p:nvPr>
        </p:nvSpPr>
        <p:spPr>
          <a:xfrm>
            <a:off x="598312" y="1814945"/>
            <a:ext cx="6744598" cy="4216363"/>
          </a:xfrm>
        </p:spPr>
        <p:txBody>
          <a:bodyPr/>
          <a:lstStyle>
            <a:lvl1pPr>
              <a:lnSpc>
                <a:spcPct val="100000"/>
              </a:lnSpc>
              <a:spcBef>
                <a:spcPts val="1000"/>
              </a:spcBef>
              <a:defRPr/>
            </a:lvl1pPr>
            <a:lvl2pPr>
              <a:lnSpc>
                <a:spcPct val="100000"/>
              </a:lnSpc>
              <a:spcBef>
                <a:spcPts val="1000"/>
              </a:spcBef>
              <a:defRPr/>
            </a:lvl2pPr>
            <a:lvl3pPr>
              <a:lnSpc>
                <a:spcPct val="100000"/>
              </a:lnSpc>
              <a:spcBef>
                <a:spcPts val="1000"/>
              </a:spcBef>
              <a:defRPr/>
            </a:lvl3pPr>
            <a:lvl4pPr>
              <a:lnSpc>
                <a:spcPct val="100000"/>
              </a:lnSpc>
              <a:spcBef>
                <a:spcPts val="1000"/>
              </a:spcBef>
              <a:defRPr/>
            </a:lvl4pPr>
            <a:lvl5pPr>
              <a:lnSpc>
                <a:spcPct val="100000"/>
              </a:lnSpc>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1CAC3928-BCC8-459C-B47F-E9849E877A65}"/>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11" name="Text Placeholder 5">
            <a:extLst>
              <a:ext uri="{FF2B5EF4-FFF2-40B4-BE49-F238E27FC236}">
                <a16:creationId xmlns:a16="http://schemas.microsoft.com/office/drawing/2014/main" id="{9E5D8387-9F9D-447B-AAB2-DADDDDE7F283}"/>
              </a:ext>
            </a:extLst>
          </p:cNvPr>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34363428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BDBDDEF2-DF1E-8A4C-8155-B5BEBE8337A4}"/>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9" name="Text Placeholder 3">
            <a:extLst>
              <a:ext uri="{FF2B5EF4-FFF2-40B4-BE49-F238E27FC236}">
                <a16:creationId xmlns:a16="http://schemas.microsoft.com/office/drawing/2014/main" id="{DE2629BC-E41B-7F40-A9BE-A8A8E5792D47}"/>
              </a:ext>
            </a:extLst>
          </p:cNvPr>
          <p:cNvSpPr>
            <a:spLocks noGrp="1"/>
          </p:cNvSpPr>
          <p:nvPr>
            <p:ph type="body" sz="quarter" idx="14"/>
          </p:nvPr>
        </p:nvSpPr>
        <p:spPr>
          <a:xfrm>
            <a:off x="598312" y="1814945"/>
            <a:ext cx="6744598" cy="4216363"/>
          </a:xfrm>
        </p:spPr>
        <p:txBody>
          <a:bodyPr/>
          <a:lstStyle>
            <a:lvl1pPr>
              <a:lnSpc>
                <a:spcPct val="100000"/>
              </a:lnSpc>
              <a:spcBef>
                <a:spcPts val="1000"/>
              </a:spcBef>
              <a:defRPr/>
            </a:lvl1pPr>
            <a:lvl2pPr>
              <a:lnSpc>
                <a:spcPct val="100000"/>
              </a:lnSpc>
              <a:spcBef>
                <a:spcPts val="1000"/>
              </a:spcBef>
              <a:defRPr/>
            </a:lvl2pPr>
            <a:lvl3pPr>
              <a:lnSpc>
                <a:spcPct val="100000"/>
              </a:lnSpc>
              <a:spcBef>
                <a:spcPts val="1000"/>
              </a:spcBef>
              <a:defRPr/>
            </a:lvl3pPr>
            <a:lvl4pPr>
              <a:lnSpc>
                <a:spcPct val="100000"/>
              </a:lnSpc>
              <a:spcBef>
                <a:spcPts val="1000"/>
              </a:spcBef>
              <a:defRPr/>
            </a:lvl4pPr>
            <a:lvl5pPr>
              <a:lnSpc>
                <a:spcPct val="100000"/>
              </a:lnSpc>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圖片 7">
            <a:extLst>
              <a:ext uri="{FF2B5EF4-FFF2-40B4-BE49-F238E27FC236}">
                <a16:creationId xmlns:a16="http://schemas.microsoft.com/office/drawing/2014/main" id="{B6574150-D98D-42C4-AB21-53DE41DA5F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26548" y="1918686"/>
            <a:ext cx="3866387" cy="3949453"/>
          </a:xfrm>
          <a:prstGeom prst="rect">
            <a:avLst/>
          </a:prstGeom>
        </p:spPr>
      </p:pic>
      <p:sp>
        <p:nvSpPr>
          <p:cNvPr id="11" name="Title 1">
            <a:extLst>
              <a:ext uri="{FF2B5EF4-FFF2-40B4-BE49-F238E27FC236}">
                <a16:creationId xmlns:a16="http://schemas.microsoft.com/office/drawing/2014/main" id="{3F56C9AC-FD5A-404C-838C-71122813BD1F}"/>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12" name="Text Placeholder 5">
            <a:extLst>
              <a:ext uri="{FF2B5EF4-FFF2-40B4-BE49-F238E27FC236}">
                <a16:creationId xmlns:a16="http://schemas.microsoft.com/office/drawing/2014/main" id="{A5BCBB14-0F1E-47F9-A837-474C167C89F8}"/>
              </a:ext>
            </a:extLst>
          </p:cNvPr>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5268330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BDBDDEF2-DF1E-8A4C-8155-B5BEBE8337A4}"/>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9" name="Text Placeholder 3">
            <a:extLst>
              <a:ext uri="{FF2B5EF4-FFF2-40B4-BE49-F238E27FC236}">
                <a16:creationId xmlns:a16="http://schemas.microsoft.com/office/drawing/2014/main" id="{DE2629BC-E41B-7F40-A9BE-A8A8E5792D47}"/>
              </a:ext>
            </a:extLst>
          </p:cNvPr>
          <p:cNvSpPr>
            <a:spLocks noGrp="1"/>
          </p:cNvSpPr>
          <p:nvPr>
            <p:ph type="body" sz="quarter" idx="14"/>
          </p:nvPr>
        </p:nvSpPr>
        <p:spPr>
          <a:xfrm>
            <a:off x="598312" y="1814945"/>
            <a:ext cx="6744598" cy="4216363"/>
          </a:xfrm>
        </p:spPr>
        <p:txBody>
          <a:bodyPr/>
          <a:lstStyle>
            <a:lvl1pPr>
              <a:lnSpc>
                <a:spcPct val="100000"/>
              </a:lnSpc>
              <a:spcBef>
                <a:spcPts val="1000"/>
              </a:spcBef>
              <a:defRPr/>
            </a:lvl1pPr>
            <a:lvl2pPr>
              <a:lnSpc>
                <a:spcPct val="100000"/>
              </a:lnSpc>
              <a:spcBef>
                <a:spcPts val="1000"/>
              </a:spcBef>
              <a:defRPr/>
            </a:lvl2pPr>
            <a:lvl3pPr>
              <a:lnSpc>
                <a:spcPct val="100000"/>
              </a:lnSpc>
              <a:spcBef>
                <a:spcPts val="1000"/>
              </a:spcBef>
              <a:defRPr/>
            </a:lvl3pPr>
            <a:lvl4pPr>
              <a:lnSpc>
                <a:spcPct val="100000"/>
              </a:lnSpc>
              <a:spcBef>
                <a:spcPts val="1000"/>
              </a:spcBef>
              <a:defRPr/>
            </a:lvl4pPr>
            <a:lvl5pPr>
              <a:lnSpc>
                <a:spcPct val="100000"/>
              </a:lnSpc>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8">
            <a:extLst>
              <a:ext uri="{FF2B5EF4-FFF2-40B4-BE49-F238E27FC236}">
                <a16:creationId xmlns:a16="http://schemas.microsoft.com/office/drawing/2014/main" id="{F434171A-66D7-451C-8D71-7C0D5B43BE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150"/>
          <a:stretch/>
        </p:blipFill>
        <p:spPr>
          <a:xfrm>
            <a:off x="7422204" y="2208788"/>
            <a:ext cx="4191232" cy="3476567"/>
          </a:xfrm>
          <a:prstGeom prst="rect">
            <a:avLst/>
          </a:prstGeom>
        </p:spPr>
      </p:pic>
      <p:sp>
        <p:nvSpPr>
          <p:cNvPr id="11" name="Title 1">
            <a:extLst>
              <a:ext uri="{FF2B5EF4-FFF2-40B4-BE49-F238E27FC236}">
                <a16:creationId xmlns:a16="http://schemas.microsoft.com/office/drawing/2014/main" id="{44C79F0D-010D-4E54-BE3A-0C9904C8E0B6}"/>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12" name="Text Placeholder 5">
            <a:extLst>
              <a:ext uri="{FF2B5EF4-FFF2-40B4-BE49-F238E27FC236}">
                <a16:creationId xmlns:a16="http://schemas.microsoft.com/office/drawing/2014/main" id="{F458102C-745F-423A-B172-3F83D42F313D}"/>
              </a:ext>
            </a:extLst>
          </p:cNvPr>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7847614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7" name="Slide Number Placeholder 4">
            <a:extLst>
              <a:ext uri="{FF2B5EF4-FFF2-40B4-BE49-F238E27FC236}">
                <a16:creationId xmlns:a16="http://schemas.microsoft.com/office/drawing/2014/main" id="{BDBDDEF2-DF1E-8A4C-8155-B5BEBE8337A4}"/>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9" name="Text Placeholder 3">
            <a:extLst>
              <a:ext uri="{FF2B5EF4-FFF2-40B4-BE49-F238E27FC236}">
                <a16:creationId xmlns:a16="http://schemas.microsoft.com/office/drawing/2014/main" id="{DE2629BC-E41B-7F40-A9BE-A8A8E5792D47}"/>
              </a:ext>
            </a:extLst>
          </p:cNvPr>
          <p:cNvSpPr>
            <a:spLocks noGrp="1"/>
          </p:cNvSpPr>
          <p:nvPr>
            <p:ph type="body" sz="quarter" idx="14"/>
          </p:nvPr>
        </p:nvSpPr>
        <p:spPr>
          <a:xfrm>
            <a:off x="598312" y="1814945"/>
            <a:ext cx="6744598" cy="4216363"/>
          </a:xfrm>
        </p:spPr>
        <p:txBody>
          <a:bodyPr/>
          <a:lstStyle>
            <a:lvl1pPr>
              <a:lnSpc>
                <a:spcPct val="100000"/>
              </a:lnSpc>
              <a:spcBef>
                <a:spcPts val="1000"/>
              </a:spcBef>
              <a:defRPr/>
            </a:lvl1pPr>
            <a:lvl2pPr>
              <a:lnSpc>
                <a:spcPct val="100000"/>
              </a:lnSpc>
              <a:spcBef>
                <a:spcPts val="1000"/>
              </a:spcBef>
              <a:defRPr/>
            </a:lvl2pPr>
            <a:lvl3pPr>
              <a:lnSpc>
                <a:spcPct val="100000"/>
              </a:lnSpc>
              <a:spcBef>
                <a:spcPts val="1000"/>
              </a:spcBef>
              <a:defRPr/>
            </a:lvl3pPr>
            <a:lvl4pPr>
              <a:lnSpc>
                <a:spcPct val="100000"/>
              </a:lnSpc>
              <a:spcBef>
                <a:spcPts val="1000"/>
              </a:spcBef>
              <a:defRPr/>
            </a:lvl4pPr>
            <a:lvl5pPr>
              <a:lnSpc>
                <a:spcPct val="100000"/>
              </a:lnSpc>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圖片 7">
            <a:extLst>
              <a:ext uri="{FF2B5EF4-FFF2-40B4-BE49-F238E27FC236}">
                <a16:creationId xmlns:a16="http://schemas.microsoft.com/office/drawing/2014/main" id="{1E72A3B7-90B4-4567-B37A-9F9FF91517A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81840" y="2334827"/>
            <a:ext cx="4701281" cy="3049480"/>
          </a:xfrm>
          <a:prstGeom prst="rect">
            <a:avLst/>
          </a:prstGeom>
        </p:spPr>
      </p:pic>
      <p:sp>
        <p:nvSpPr>
          <p:cNvPr id="11" name="Title 1">
            <a:extLst>
              <a:ext uri="{FF2B5EF4-FFF2-40B4-BE49-F238E27FC236}">
                <a16:creationId xmlns:a16="http://schemas.microsoft.com/office/drawing/2014/main" id="{80C4AFF5-8A89-4039-AD02-DE28CB6AACFB}"/>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12" name="Text Placeholder 5">
            <a:extLst>
              <a:ext uri="{FF2B5EF4-FFF2-40B4-BE49-F238E27FC236}">
                <a16:creationId xmlns:a16="http://schemas.microsoft.com/office/drawing/2014/main" id="{D0B3EE44-A6FD-4E6C-8C0F-0FC4AE2F61A9}"/>
              </a:ext>
            </a:extLst>
          </p:cNvPr>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3426797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9_Title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2DB9AFE-9933-B647-AC20-DDB72ED58DF5}"/>
              </a:ext>
            </a:extLst>
          </p:cNvPr>
          <p:cNvSpPr/>
          <p:nvPr userDrawn="1"/>
        </p:nvSpPr>
        <p:spPr>
          <a:xfrm>
            <a:off x="7761765" y="0"/>
            <a:ext cx="443023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C331DA91-167A-1649-A99E-F5021B7752BC}"/>
              </a:ext>
            </a:extLst>
          </p:cNvPr>
          <p:cNvSpPr/>
          <p:nvPr userDrawn="1"/>
        </p:nvSpPr>
        <p:spPr>
          <a:xfrm>
            <a:off x="346365" y="0"/>
            <a:ext cx="9733300" cy="17823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9B6E7C15-3A05-8148-8807-088E1FE6BF7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3709788" y="903916"/>
            <a:ext cx="7602561" cy="4999950"/>
          </a:xfrm>
          <a:prstGeom prst="rect">
            <a:avLst/>
          </a:prstGeom>
        </p:spPr>
      </p:pic>
      <p:sp>
        <p:nvSpPr>
          <p:cNvPr id="14" name="Rectangle 13">
            <a:extLst>
              <a:ext uri="{FF2B5EF4-FFF2-40B4-BE49-F238E27FC236}">
                <a16:creationId xmlns:a16="http://schemas.microsoft.com/office/drawing/2014/main" id="{7D97288E-1CEC-0A49-A074-DEB84980F462}"/>
              </a:ext>
            </a:extLst>
          </p:cNvPr>
          <p:cNvSpPr/>
          <p:nvPr userDrawn="1"/>
        </p:nvSpPr>
        <p:spPr>
          <a:xfrm>
            <a:off x="979960" y="1937508"/>
            <a:ext cx="6781806" cy="2985366"/>
          </a:xfrm>
          <a:prstGeom prst="rect">
            <a:avLst/>
          </a:prstGeom>
          <a:solidFill>
            <a:schemeClr val="accent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E0ECBA9-0E91-BC4F-8E56-598DBA35BB04}"/>
              </a:ext>
            </a:extLst>
          </p:cNvPr>
          <p:cNvSpPr/>
          <p:nvPr userDrawn="1"/>
        </p:nvSpPr>
        <p:spPr>
          <a:xfrm>
            <a:off x="1633870" y="3661913"/>
            <a:ext cx="772998"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solidFill>
                <a:prstClr val="white"/>
              </a:solidFill>
            </a:endParaRPr>
          </a:p>
        </p:txBody>
      </p:sp>
      <p:sp>
        <p:nvSpPr>
          <p:cNvPr id="19" name="Title 1">
            <a:extLst>
              <a:ext uri="{FF2B5EF4-FFF2-40B4-BE49-F238E27FC236}">
                <a16:creationId xmlns:a16="http://schemas.microsoft.com/office/drawing/2014/main" id="{9C101AC5-6805-9042-A197-7121121CA837}"/>
              </a:ext>
            </a:extLst>
          </p:cNvPr>
          <p:cNvSpPr>
            <a:spLocks noGrp="1"/>
          </p:cNvSpPr>
          <p:nvPr>
            <p:ph type="ctrTitle" hasCustomPrompt="1"/>
          </p:nvPr>
        </p:nvSpPr>
        <p:spPr>
          <a:xfrm>
            <a:off x="1633870" y="2620380"/>
            <a:ext cx="5600700" cy="886397"/>
          </a:xfrm>
        </p:spPr>
        <p:txBody>
          <a:bodyPr anchor="b"/>
          <a:lstStyle>
            <a:lvl1pPr marL="0" algn="l" defTabSz="914400" rtl="0" eaLnBrk="1" latinLnBrk="0" hangingPunct="1">
              <a:defRPr lang="en-US" sz="3200" b="0" kern="1200" dirty="0">
                <a:solidFill>
                  <a:schemeClr val="bg1"/>
                </a:solidFill>
                <a:latin typeface="+mj-lt"/>
                <a:ea typeface="+mn-ea"/>
                <a:cs typeface="+mn-cs"/>
              </a:defRPr>
            </a:lvl1pPr>
          </a:lstStyle>
          <a:p>
            <a:r>
              <a:rPr lang="en-US"/>
              <a:t>CLICK TO EDIT MASTER TITLE STYLE</a:t>
            </a:r>
          </a:p>
        </p:txBody>
      </p:sp>
      <p:sp>
        <p:nvSpPr>
          <p:cNvPr id="20" name="Subtitle 2">
            <a:extLst>
              <a:ext uri="{FF2B5EF4-FFF2-40B4-BE49-F238E27FC236}">
                <a16:creationId xmlns:a16="http://schemas.microsoft.com/office/drawing/2014/main" id="{13431C9E-FED4-EE41-93DC-167607675F11}"/>
              </a:ext>
            </a:extLst>
          </p:cNvPr>
          <p:cNvSpPr>
            <a:spLocks noGrp="1"/>
          </p:cNvSpPr>
          <p:nvPr>
            <p:ph type="subTitle" idx="1" hasCustomPrompt="1"/>
          </p:nvPr>
        </p:nvSpPr>
        <p:spPr>
          <a:xfrm>
            <a:off x="1633870" y="3847177"/>
            <a:ext cx="5600700" cy="276999"/>
          </a:xfrm>
        </p:spPr>
        <p:txBody>
          <a:bodyPr wrap="square" lIns="0" tIns="0" rIns="0" bIns="0">
            <a:spAutoFit/>
          </a:bodyPr>
          <a:lstStyle>
            <a:lvl1pPr marL="0" indent="0" algn="l" defTabSz="914400" rtl="0" eaLnBrk="1" latinLnBrk="0" hangingPunct="1">
              <a:buNone/>
              <a:defRPr lang="en-US" sz="1800" kern="120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Rectangle 9">
            <a:extLst>
              <a:ext uri="{FF2B5EF4-FFF2-40B4-BE49-F238E27FC236}">
                <a16:creationId xmlns:a16="http://schemas.microsoft.com/office/drawing/2014/main" id="{ABFA1E69-50FB-FB44-8F4C-59C7CBD1CBE1}"/>
              </a:ext>
            </a:extLst>
          </p:cNvPr>
          <p:cNvSpPr/>
          <p:nvPr userDrawn="1"/>
        </p:nvSpPr>
        <p:spPr>
          <a:xfrm>
            <a:off x="-19010" y="5757332"/>
            <a:ext cx="2873046" cy="1100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lotus_alvogen_logos-01.png">
            <a:extLst>
              <a:ext uri="{FF2B5EF4-FFF2-40B4-BE49-F238E27FC236}">
                <a16:creationId xmlns:a16="http://schemas.microsoft.com/office/drawing/2014/main" id="{B92AF654-F02E-4C0E-B589-C7CCAD918DC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167" t="32431" r="11163" b="23811"/>
          <a:stretch/>
        </p:blipFill>
        <p:spPr>
          <a:xfrm>
            <a:off x="1117284" y="1196538"/>
            <a:ext cx="1588552" cy="489587"/>
          </a:xfrm>
          <a:prstGeom prst="rect">
            <a:avLst/>
          </a:prstGeom>
        </p:spPr>
      </p:pic>
    </p:spTree>
    <p:extLst>
      <p:ext uri="{BB962C8B-B14F-4D97-AF65-F5344CB8AC3E}">
        <p14:creationId xmlns:p14="http://schemas.microsoft.com/office/powerpoint/2010/main" val="18459641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meline 3">
    <p:spTree>
      <p:nvGrpSpPr>
        <p:cNvPr id="1" name=""/>
        <p:cNvGrpSpPr/>
        <p:nvPr/>
      </p:nvGrpSpPr>
      <p:grpSpPr>
        <a:xfrm>
          <a:off x="0" y="0"/>
          <a:ext cx="0" cy="0"/>
          <a:chOff x="0" y="0"/>
          <a:chExt cx="0" cy="0"/>
        </a:xfrm>
      </p:grpSpPr>
      <p:sp>
        <p:nvSpPr>
          <p:cNvPr id="46" name="Rectangle 6">
            <a:extLst>
              <a:ext uri="{FF2B5EF4-FFF2-40B4-BE49-F238E27FC236}">
                <a16:creationId xmlns:a16="http://schemas.microsoft.com/office/drawing/2014/main" id="{B3118D10-854F-48D5-A3D2-3691EE1ED44E}"/>
              </a:ext>
            </a:extLst>
          </p:cNvPr>
          <p:cNvSpPr/>
          <p:nvPr userDrawn="1"/>
        </p:nvSpPr>
        <p:spPr>
          <a:xfrm>
            <a:off x="1" y="3459788"/>
            <a:ext cx="12192000" cy="151255"/>
          </a:xfrm>
          <a:prstGeom prst="rect">
            <a:avLst/>
          </a:prstGeom>
          <a:solidFill>
            <a:srgbClr val="FFCC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mn-lt"/>
              <a:ea typeface="+mn-ea"/>
              <a:cs typeface="+mn-cs"/>
            </a:endParaRPr>
          </a:p>
        </p:txBody>
      </p:sp>
      <p:cxnSp>
        <p:nvCxnSpPr>
          <p:cNvPr id="49" name="Straight Connector 12">
            <a:extLst>
              <a:ext uri="{FF2B5EF4-FFF2-40B4-BE49-F238E27FC236}">
                <a16:creationId xmlns:a16="http://schemas.microsoft.com/office/drawing/2014/main" id="{D38E2184-A012-45C6-9D4E-75D9056F5088}"/>
              </a:ext>
            </a:extLst>
          </p:cNvPr>
          <p:cNvCxnSpPr/>
          <p:nvPr userDrawn="1"/>
        </p:nvCxnSpPr>
        <p:spPr>
          <a:xfrm>
            <a:off x="8753519" y="3896838"/>
            <a:ext cx="0" cy="341787"/>
          </a:xfrm>
          <a:prstGeom prst="line">
            <a:avLst/>
          </a:prstGeom>
          <a:noFill/>
          <a:ln w="6350" cap="flat" cmpd="sng" algn="ctr">
            <a:solidFill>
              <a:srgbClr val="282828"/>
            </a:solidFill>
            <a:prstDash val="solid"/>
            <a:miter lim="800000"/>
            <a:tailEnd type="oval"/>
          </a:ln>
          <a:effectLst/>
        </p:spPr>
      </p:cxnSp>
      <p:sp>
        <p:nvSpPr>
          <p:cNvPr id="68" name="Oval 9">
            <a:extLst>
              <a:ext uri="{FF2B5EF4-FFF2-40B4-BE49-F238E27FC236}">
                <a16:creationId xmlns:a16="http://schemas.microsoft.com/office/drawing/2014/main" id="{0A4770AB-8C83-4068-98B2-2CC4AC0EFBAB}"/>
              </a:ext>
            </a:extLst>
          </p:cNvPr>
          <p:cNvSpPr/>
          <p:nvPr userDrawn="1"/>
        </p:nvSpPr>
        <p:spPr>
          <a:xfrm>
            <a:off x="8353112" y="3132424"/>
            <a:ext cx="800814" cy="800814"/>
          </a:xfrm>
          <a:prstGeom prst="ellipse">
            <a:avLst/>
          </a:prstGeom>
          <a:solidFill>
            <a:srgbClr val="282828"/>
          </a:solidFill>
          <a:ln w="57150" cap="flat" cmpd="sng" algn="ctr">
            <a:solidFill>
              <a:sysClr val="window" lastClr="FFFFFF">
                <a:lumMod val="9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CC00"/>
              </a:solidFill>
              <a:effectLst/>
              <a:uLnTx/>
              <a:uFillTx/>
              <a:latin typeface="+mn-lt"/>
              <a:ea typeface="+mn-ea"/>
              <a:cs typeface="+mn-cs"/>
            </a:endParaRPr>
          </a:p>
        </p:txBody>
      </p:sp>
      <p:sp>
        <p:nvSpPr>
          <p:cNvPr id="69" name="Oval 15">
            <a:extLst>
              <a:ext uri="{FF2B5EF4-FFF2-40B4-BE49-F238E27FC236}">
                <a16:creationId xmlns:a16="http://schemas.microsoft.com/office/drawing/2014/main" id="{09E5518B-CE74-4944-8D70-EB57195BCCAA}"/>
              </a:ext>
            </a:extLst>
          </p:cNvPr>
          <p:cNvSpPr/>
          <p:nvPr userDrawn="1"/>
        </p:nvSpPr>
        <p:spPr>
          <a:xfrm>
            <a:off x="6568028" y="3132424"/>
            <a:ext cx="800814" cy="800814"/>
          </a:xfrm>
          <a:prstGeom prst="ellipse">
            <a:avLst/>
          </a:prstGeom>
          <a:solidFill>
            <a:srgbClr val="282828"/>
          </a:solidFill>
          <a:ln w="57150" cap="flat" cmpd="sng" algn="ctr">
            <a:solidFill>
              <a:sysClr val="window" lastClr="FFFFFF">
                <a:lumMod val="9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CC00"/>
              </a:solidFill>
              <a:effectLst/>
              <a:uLnTx/>
              <a:uFillTx/>
              <a:latin typeface="+mn-lt"/>
              <a:ea typeface="+mn-ea"/>
              <a:cs typeface="+mn-cs"/>
            </a:endParaRPr>
          </a:p>
        </p:txBody>
      </p:sp>
      <p:cxnSp>
        <p:nvCxnSpPr>
          <p:cNvPr id="70" name="Straight Connector 19">
            <a:extLst>
              <a:ext uri="{FF2B5EF4-FFF2-40B4-BE49-F238E27FC236}">
                <a16:creationId xmlns:a16="http://schemas.microsoft.com/office/drawing/2014/main" id="{4090B625-DDC3-443B-A9E4-1B54353B1483}"/>
              </a:ext>
            </a:extLst>
          </p:cNvPr>
          <p:cNvCxnSpPr/>
          <p:nvPr userDrawn="1"/>
        </p:nvCxnSpPr>
        <p:spPr>
          <a:xfrm flipV="1">
            <a:off x="6968435" y="2822671"/>
            <a:ext cx="0" cy="341787"/>
          </a:xfrm>
          <a:prstGeom prst="line">
            <a:avLst/>
          </a:prstGeom>
          <a:noFill/>
          <a:ln w="6350" cap="flat" cmpd="sng" algn="ctr">
            <a:solidFill>
              <a:srgbClr val="282828"/>
            </a:solidFill>
            <a:prstDash val="solid"/>
            <a:miter lim="800000"/>
            <a:tailEnd type="oval"/>
          </a:ln>
          <a:effectLst/>
        </p:spPr>
      </p:cxnSp>
      <p:cxnSp>
        <p:nvCxnSpPr>
          <p:cNvPr id="71" name="Straight Connector 26">
            <a:extLst>
              <a:ext uri="{FF2B5EF4-FFF2-40B4-BE49-F238E27FC236}">
                <a16:creationId xmlns:a16="http://schemas.microsoft.com/office/drawing/2014/main" id="{775CA12B-3A9C-4F63-91D2-B9A54D3D7D5F}"/>
              </a:ext>
            </a:extLst>
          </p:cNvPr>
          <p:cNvCxnSpPr/>
          <p:nvPr userDrawn="1"/>
        </p:nvCxnSpPr>
        <p:spPr>
          <a:xfrm>
            <a:off x="5183351" y="3896838"/>
            <a:ext cx="0" cy="341787"/>
          </a:xfrm>
          <a:prstGeom prst="line">
            <a:avLst/>
          </a:prstGeom>
          <a:noFill/>
          <a:ln w="6350" cap="flat" cmpd="sng" algn="ctr">
            <a:solidFill>
              <a:srgbClr val="282828"/>
            </a:solidFill>
            <a:prstDash val="solid"/>
            <a:miter lim="800000"/>
            <a:tailEnd type="oval"/>
          </a:ln>
          <a:effectLst/>
        </p:spPr>
      </p:cxnSp>
      <p:sp>
        <p:nvSpPr>
          <p:cNvPr id="72" name="Oval 23">
            <a:extLst>
              <a:ext uri="{FF2B5EF4-FFF2-40B4-BE49-F238E27FC236}">
                <a16:creationId xmlns:a16="http://schemas.microsoft.com/office/drawing/2014/main" id="{55923BDE-3653-4433-9C96-0ED713BD3E03}"/>
              </a:ext>
            </a:extLst>
          </p:cNvPr>
          <p:cNvSpPr/>
          <p:nvPr userDrawn="1"/>
        </p:nvSpPr>
        <p:spPr>
          <a:xfrm>
            <a:off x="4782944" y="3132424"/>
            <a:ext cx="800814" cy="800814"/>
          </a:xfrm>
          <a:prstGeom prst="ellipse">
            <a:avLst/>
          </a:prstGeom>
          <a:solidFill>
            <a:srgbClr val="282828"/>
          </a:solidFill>
          <a:ln w="57150" cap="flat" cmpd="sng" algn="ctr">
            <a:solidFill>
              <a:sysClr val="window" lastClr="FFFFFF">
                <a:lumMod val="9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CC00"/>
              </a:solidFill>
              <a:effectLst/>
              <a:uLnTx/>
              <a:uFillTx/>
              <a:latin typeface="+mn-lt"/>
              <a:ea typeface="+mn-ea"/>
              <a:cs typeface="+mn-cs"/>
            </a:endParaRPr>
          </a:p>
        </p:txBody>
      </p:sp>
      <p:cxnSp>
        <p:nvCxnSpPr>
          <p:cNvPr id="73" name="Straight Connector 32">
            <a:extLst>
              <a:ext uri="{FF2B5EF4-FFF2-40B4-BE49-F238E27FC236}">
                <a16:creationId xmlns:a16="http://schemas.microsoft.com/office/drawing/2014/main" id="{2A92F375-19A0-4BAD-B1F7-60FD5A626145}"/>
              </a:ext>
            </a:extLst>
          </p:cNvPr>
          <p:cNvCxnSpPr/>
          <p:nvPr userDrawn="1"/>
        </p:nvCxnSpPr>
        <p:spPr>
          <a:xfrm flipV="1">
            <a:off x="3438482" y="2822671"/>
            <a:ext cx="0" cy="341787"/>
          </a:xfrm>
          <a:prstGeom prst="line">
            <a:avLst/>
          </a:prstGeom>
          <a:noFill/>
          <a:ln w="6350" cap="flat" cmpd="sng" algn="ctr">
            <a:solidFill>
              <a:srgbClr val="282828"/>
            </a:solidFill>
            <a:prstDash val="solid"/>
            <a:miter lim="800000"/>
            <a:tailEnd type="oval"/>
          </a:ln>
          <a:effectLst/>
        </p:spPr>
      </p:cxnSp>
      <p:sp>
        <p:nvSpPr>
          <p:cNvPr id="74" name="Oval 30">
            <a:extLst>
              <a:ext uri="{FF2B5EF4-FFF2-40B4-BE49-F238E27FC236}">
                <a16:creationId xmlns:a16="http://schemas.microsoft.com/office/drawing/2014/main" id="{4B49261B-3A04-49F3-B57E-B0F80FDD9413}"/>
              </a:ext>
            </a:extLst>
          </p:cNvPr>
          <p:cNvSpPr/>
          <p:nvPr userDrawn="1"/>
        </p:nvSpPr>
        <p:spPr>
          <a:xfrm>
            <a:off x="3051115" y="3132424"/>
            <a:ext cx="800814" cy="800814"/>
          </a:xfrm>
          <a:prstGeom prst="ellipse">
            <a:avLst/>
          </a:prstGeom>
          <a:solidFill>
            <a:srgbClr val="282828"/>
          </a:solidFill>
          <a:ln w="57150" cap="flat" cmpd="sng" algn="ctr">
            <a:solidFill>
              <a:sysClr val="window" lastClr="FFFFFF">
                <a:lumMod val="9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CC00"/>
              </a:solidFill>
              <a:effectLst/>
              <a:uLnTx/>
              <a:uFillTx/>
              <a:latin typeface="+mn-lt"/>
              <a:ea typeface="+mn-ea"/>
              <a:cs typeface="+mn-cs"/>
            </a:endParaRPr>
          </a:p>
        </p:txBody>
      </p:sp>
      <p:cxnSp>
        <p:nvCxnSpPr>
          <p:cNvPr id="75" name="Straight Connector 39">
            <a:extLst>
              <a:ext uri="{FF2B5EF4-FFF2-40B4-BE49-F238E27FC236}">
                <a16:creationId xmlns:a16="http://schemas.microsoft.com/office/drawing/2014/main" id="{67886C4D-1BB8-4664-A573-81A9960FF1F0}"/>
              </a:ext>
            </a:extLst>
          </p:cNvPr>
          <p:cNvCxnSpPr/>
          <p:nvPr userDrawn="1"/>
        </p:nvCxnSpPr>
        <p:spPr>
          <a:xfrm>
            <a:off x="1693613" y="3896838"/>
            <a:ext cx="0" cy="341787"/>
          </a:xfrm>
          <a:prstGeom prst="line">
            <a:avLst/>
          </a:prstGeom>
          <a:noFill/>
          <a:ln w="6350" cap="flat" cmpd="sng" algn="ctr">
            <a:solidFill>
              <a:srgbClr val="282828"/>
            </a:solidFill>
            <a:prstDash val="solid"/>
            <a:miter lim="800000"/>
            <a:tailEnd type="oval"/>
          </a:ln>
          <a:effectLst/>
        </p:spPr>
      </p:cxnSp>
      <p:sp>
        <p:nvSpPr>
          <p:cNvPr id="76" name="Oval 37">
            <a:extLst>
              <a:ext uri="{FF2B5EF4-FFF2-40B4-BE49-F238E27FC236}">
                <a16:creationId xmlns:a16="http://schemas.microsoft.com/office/drawing/2014/main" id="{0931E2A3-40AD-44B1-AFE6-FE44C203B4DA}"/>
              </a:ext>
            </a:extLst>
          </p:cNvPr>
          <p:cNvSpPr/>
          <p:nvPr userDrawn="1"/>
        </p:nvSpPr>
        <p:spPr>
          <a:xfrm>
            <a:off x="1293206" y="3132424"/>
            <a:ext cx="800814" cy="800814"/>
          </a:xfrm>
          <a:prstGeom prst="ellipse">
            <a:avLst/>
          </a:prstGeom>
          <a:solidFill>
            <a:srgbClr val="282828"/>
          </a:solidFill>
          <a:ln w="57150" cap="flat" cmpd="sng" algn="ctr">
            <a:solidFill>
              <a:sysClr val="window" lastClr="FFFFFF">
                <a:lumMod val="9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CC00"/>
              </a:solidFill>
              <a:effectLst/>
              <a:uLnTx/>
              <a:uFillTx/>
              <a:latin typeface="+mn-lt"/>
              <a:ea typeface="+mn-ea"/>
              <a:cs typeface="+mn-cs"/>
            </a:endParaRPr>
          </a:p>
        </p:txBody>
      </p:sp>
      <p:cxnSp>
        <p:nvCxnSpPr>
          <p:cNvPr id="77" name="Straight Connector 46">
            <a:extLst>
              <a:ext uri="{FF2B5EF4-FFF2-40B4-BE49-F238E27FC236}">
                <a16:creationId xmlns:a16="http://schemas.microsoft.com/office/drawing/2014/main" id="{56CBCF64-8D1E-4110-86D1-92F943EFEEEF}"/>
              </a:ext>
            </a:extLst>
          </p:cNvPr>
          <p:cNvCxnSpPr/>
          <p:nvPr userDrawn="1"/>
        </p:nvCxnSpPr>
        <p:spPr>
          <a:xfrm flipV="1">
            <a:off x="10498388" y="2822671"/>
            <a:ext cx="0" cy="341787"/>
          </a:xfrm>
          <a:prstGeom prst="line">
            <a:avLst/>
          </a:prstGeom>
          <a:noFill/>
          <a:ln w="6350" cap="flat" cmpd="sng" algn="ctr">
            <a:solidFill>
              <a:srgbClr val="282828"/>
            </a:solidFill>
            <a:prstDash val="solid"/>
            <a:miter lim="800000"/>
            <a:tailEnd type="oval"/>
          </a:ln>
          <a:effectLst/>
        </p:spPr>
      </p:cxnSp>
      <p:sp>
        <p:nvSpPr>
          <p:cNvPr id="78" name="Oval 47">
            <a:extLst>
              <a:ext uri="{FF2B5EF4-FFF2-40B4-BE49-F238E27FC236}">
                <a16:creationId xmlns:a16="http://schemas.microsoft.com/office/drawing/2014/main" id="{DA5892DE-0AB7-45E8-9E8B-693F1B06410E}"/>
              </a:ext>
            </a:extLst>
          </p:cNvPr>
          <p:cNvSpPr/>
          <p:nvPr userDrawn="1"/>
        </p:nvSpPr>
        <p:spPr>
          <a:xfrm>
            <a:off x="10097980" y="3132424"/>
            <a:ext cx="800814" cy="800814"/>
          </a:xfrm>
          <a:prstGeom prst="ellipse">
            <a:avLst/>
          </a:prstGeom>
          <a:solidFill>
            <a:srgbClr val="282828"/>
          </a:solidFill>
          <a:ln w="57150" cap="flat" cmpd="sng" algn="ctr">
            <a:solidFill>
              <a:sysClr val="window" lastClr="FFFFFF">
                <a:lumMod val="9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FFCC00"/>
              </a:solidFill>
              <a:effectLst/>
              <a:uLnTx/>
              <a:uFillTx/>
              <a:latin typeface="+mn-lt"/>
              <a:ea typeface="+mn-ea"/>
              <a:cs typeface="+mn-cs"/>
            </a:endParaRPr>
          </a:p>
        </p:txBody>
      </p:sp>
      <p:sp>
        <p:nvSpPr>
          <p:cNvPr id="79" name="Text Placeholder 49">
            <a:extLst>
              <a:ext uri="{FF2B5EF4-FFF2-40B4-BE49-F238E27FC236}">
                <a16:creationId xmlns:a16="http://schemas.microsoft.com/office/drawing/2014/main" id="{91E2FB48-FFFB-47E8-9FDE-D1118F7D109D}"/>
              </a:ext>
            </a:extLst>
          </p:cNvPr>
          <p:cNvSpPr txBox="1">
            <a:spLocks/>
          </p:cNvSpPr>
          <p:nvPr userDrawn="1"/>
        </p:nvSpPr>
        <p:spPr>
          <a:xfrm>
            <a:off x="838200" y="4626334"/>
            <a:ext cx="1630396" cy="484748"/>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0"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80" name="Text Placeholder 49">
            <a:extLst>
              <a:ext uri="{FF2B5EF4-FFF2-40B4-BE49-F238E27FC236}">
                <a16:creationId xmlns:a16="http://schemas.microsoft.com/office/drawing/2014/main" id="{04F9CD1F-FBC9-4625-B52C-4F74E21A7575}"/>
              </a:ext>
            </a:extLst>
          </p:cNvPr>
          <p:cNvSpPr txBox="1">
            <a:spLocks/>
          </p:cNvSpPr>
          <p:nvPr userDrawn="1"/>
        </p:nvSpPr>
        <p:spPr>
          <a:xfrm>
            <a:off x="874372" y="4405177"/>
            <a:ext cx="1630396" cy="161583"/>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b="1" kern="1200" dirty="0">
                <a:solidFill>
                  <a:schemeClr val="accent2"/>
                </a:solidFill>
                <a:latin typeface="+mj-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1"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81" name="Text Placeholder 49">
            <a:extLst>
              <a:ext uri="{FF2B5EF4-FFF2-40B4-BE49-F238E27FC236}">
                <a16:creationId xmlns:a16="http://schemas.microsoft.com/office/drawing/2014/main" id="{187230C2-22ED-403D-881B-AC50B08469CA}"/>
              </a:ext>
            </a:extLst>
          </p:cNvPr>
          <p:cNvSpPr txBox="1">
            <a:spLocks/>
          </p:cNvSpPr>
          <p:nvPr userDrawn="1"/>
        </p:nvSpPr>
        <p:spPr>
          <a:xfrm>
            <a:off x="4408368" y="4626334"/>
            <a:ext cx="1630396" cy="484748"/>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0"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82" name="Text Placeholder 49">
            <a:extLst>
              <a:ext uri="{FF2B5EF4-FFF2-40B4-BE49-F238E27FC236}">
                <a16:creationId xmlns:a16="http://schemas.microsoft.com/office/drawing/2014/main" id="{A587C3BE-B7B3-4728-A9D0-E381F38ECA82}"/>
              </a:ext>
            </a:extLst>
          </p:cNvPr>
          <p:cNvSpPr txBox="1">
            <a:spLocks/>
          </p:cNvSpPr>
          <p:nvPr userDrawn="1"/>
        </p:nvSpPr>
        <p:spPr>
          <a:xfrm>
            <a:off x="4408368" y="4415877"/>
            <a:ext cx="1630396" cy="161583"/>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b="1" kern="1200" dirty="0">
                <a:solidFill>
                  <a:schemeClr val="accent2"/>
                </a:solidFill>
                <a:latin typeface="+mj-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1"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83" name="Text Placeholder 49">
            <a:extLst>
              <a:ext uri="{FF2B5EF4-FFF2-40B4-BE49-F238E27FC236}">
                <a16:creationId xmlns:a16="http://schemas.microsoft.com/office/drawing/2014/main" id="{8EEFE3A1-E291-41BC-BBEF-1816264C58DE}"/>
              </a:ext>
            </a:extLst>
          </p:cNvPr>
          <p:cNvSpPr txBox="1">
            <a:spLocks/>
          </p:cNvSpPr>
          <p:nvPr userDrawn="1"/>
        </p:nvSpPr>
        <p:spPr>
          <a:xfrm>
            <a:off x="7978536" y="4626334"/>
            <a:ext cx="1630396" cy="484748"/>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0"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84" name="Text Placeholder 49">
            <a:extLst>
              <a:ext uri="{FF2B5EF4-FFF2-40B4-BE49-F238E27FC236}">
                <a16:creationId xmlns:a16="http://schemas.microsoft.com/office/drawing/2014/main" id="{650482B0-9FC7-4645-B3A0-5DB0851C4AAF}"/>
              </a:ext>
            </a:extLst>
          </p:cNvPr>
          <p:cNvSpPr txBox="1">
            <a:spLocks/>
          </p:cNvSpPr>
          <p:nvPr userDrawn="1"/>
        </p:nvSpPr>
        <p:spPr>
          <a:xfrm>
            <a:off x="7978536" y="4415877"/>
            <a:ext cx="1630396" cy="161583"/>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b="1" kern="1200" dirty="0">
                <a:solidFill>
                  <a:schemeClr val="accent2"/>
                </a:solidFill>
                <a:latin typeface="+mj-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1"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85" name="Text Placeholder 49">
            <a:extLst>
              <a:ext uri="{FF2B5EF4-FFF2-40B4-BE49-F238E27FC236}">
                <a16:creationId xmlns:a16="http://schemas.microsoft.com/office/drawing/2014/main" id="{1BA842A1-D90F-443A-BCD1-12AB97EBFEED}"/>
              </a:ext>
            </a:extLst>
          </p:cNvPr>
          <p:cNvSpPr txBox="1">
            <a:spLocks/>
          </p:cNvSpPr>
          <p:nvPr userDrawn="1"/>
        </p:nvSpPr>
        <p:spPr>
          <a:xfrm>
            <a:off x="9723404" y="2131945"/>
            <a:ext cx="1630396" cy="484748"/>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0"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86" name="Text Placeholder 49">
            <a:extLst>
              <a:ext uri="{FF2B5EF4-FFF2-40B4-BE49-F238E27FC236}">
                <a16:creationId xmlns:a16="http://schemas.microsoft.com/office/drawing/2014/main" id="{483F0D36-A891-4627-B6FD-938EB695CAF4}"/>
              </a:ext>
            </a:extLst>
          </p:cNvPr>
          <p:cNvSpPr txBox="1">
            <a:spLocks/>
          </p:cNvSpPr>
          <p:nvPr userDrawn="1"/>
        </p:nvSpPr>
        <p:spPr>
          <a:xfrm>
            <a:off x="9723404" y="1921488"/>
            <a:ext cx="1630396" cy="161583"/>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b="1" kern="1200" dirty="0">
                <a:solidFill>
                  <a:schemeClr val="accent2"/>
                </a:solidFill>
                <a:latin typeface="+mj-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1"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87" name="Text Placeholder 49">
            <a:extLst>
              <a:ext uri="{FF2B5EF4-FFF2-40B4-BE49-F238E27FC236}">
                <a16:creationId xmlns:a16="http://schemas.microsoft.com/office/drawing/2014/main" id="{87F5B3B4-FD55-4B02-88C1-FEEDEAB18012}"/>
              </a:ext>
            </a:extLst>
          </p:cNvPr>
          <p:cNvSpPr txBox="1">
            <a:spLocks/>
          </p:cNvSpPr>
          <p:nvPr userDrawn="1"/>
        </p:nvSpPr>
        <p:spPr>
          <a:xfrm>
            <a:off x="6193452" y="2131945"/>
            <a:ext cx="1630396" cy="484748"/>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0"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88" name="Text Placeholder 49">
            <a:extLst>
              <a:ext uri="{FF2B5EF4-FFF2-40B4-BE49-F238E27FC236}">
                <a16:creationId xmlns:a16="http://schemas.microsoft.com/office/drawing/2014/main" id="{193C871E-6353-4BC7-A0BB-7CFD890AF30B}"/>
              </a:ext>
            </a:extLst>
          </p:cNvPr>
          <p:cNvSpPr txBox="1">
            <a:spLocks/>
          </p:cNvSpPr>
          <p:nvPr userDrawn="1"/>
        </p:nvSpPr>
        <p:spPr>
          <a:xfrm>
            <a:off x="6193452" y="1921488"/>
            <a:ext cx="1630396" cy="161583"/>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b="1" kern="1200" dirty="0">
                <a:solidFill>
                  <a:schemeClr val="accent2"/>
                </a:solidFill>
                <a:latin typeface="+mj-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1"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89" name="Text Placeholder 49">
            <a:extLst>
              <a:ext uri="{FF2B5EF4-FFF2-40B4-BE49-F238E27FC236}">
                <a16:creationId xmlns:a16="http://schemas.microsoft.com/office/drawing/2014/main" id="{30F03770-8CA9-408E-8176-3E0BA9433789}"/>
              </a:ext>
            </a:extLst>
          </p:cNvPr>
          <p:cNvSpPr txBox="1">
            <a:spLocks/>
          </p:cNvSpPr>
          <p:nvPr userDrawn="1"/>
        </p:nvSpPr>
        <p:spPr>
          <a:xfrm>
            <a:off x="2623284" y="2131945"/>
            <a:ext cx="1630396" cy="484748"/>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0"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90" name="Text Placeholder 49">
            <a:extLst>
              <a:ext uri="{FF2B5EF4-FFF2-40B4-BE49-F238E27FC236}">
                <a16:creationId xmlns:a16="http://schemas.microsoft.com/office/drawing/2014/main" id="{AC26C15E-4601-48BC-AFC3-99EA2F68FC87}"/>
              </a:ext>
            </a:extLst>
          </p:cNvPr>
          <p:cNvSpPr txBox="1">
            <a:spLocks/>
          </p:cNvSpPr>
          <p:nvPr userDrawn="1"/>
        </p:nvSpPr>
        <p:spPr>
          <a:xfrm>
            <a:off x="2623284" y="1921488"/>
            <a:ext cx="1630396" cy="161583"/>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50" b="1" kern="1200" dirty="0">
                <a:solidFill>
                  <a:schemeClr val="accent2"/>
                </a:solidFill>
                <a:latin typeface="+mj-lt"/>
                <a:ea typeface="+mn-ea"/>
                <a:cs typeface="Calibri Light" panose="020F0302020204030204" pitchFamily="34" charset="0"/>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50" b="1" i="0" u="none" strike="noStrike" kern="1200" cap="none" spc="0" normalizeH="0" baseline="0" noProof="0">
              <a:ln>
                <a:noFill/>
              </a:ln>
              <a:solidFill>
                <a:srgbClr val="000000"/>
              </a:solidFill>
              <a:effectLst/>
              <a:uLnTx/>
              <a:uFillTx/>
              <a:latin typeface="+mn-lt"/>
              <a:ea typeface="+mn-ea"/>
              <a:cs typeface="Calibri Light" panose="020F0302020204030204" pitchFamily="34" charset="0"/>
            </a:endParaRPr>
          </a:p>
        </p:txBody>
      </p:sp>
      <p:sp>
        <p:nvSpPr>
          <p:cNvPr id="91" name="Text Placeholder 49">
            <a:extLst>
              <a:ext uri="{FF2B5EF4-FFF2-40B4-BE49-F238E27FC236}">
                <a16:creationId xmlns:a16="http://schemas.microsoft.com/office/drawing/2014/main" id="{5F7AFC27-EC9B-4AD9-B356-2CDF006E680F}"/>
              </a:ext>
            </a:extLst>
          </p:cNvPr>
          <p:cNvSpPr txBox="1">
            <a:spLocks/>
          </p:cNvSpPr>
          <p:nvPr userDrawn="1"/>
        </p:nvSpPr>
        <p:spPr>
          <a:xfrm>
            <a:off x="1429926" y="3452040"/>
            <a:ext cx="519289" cy="139411"/>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900" b="1" kern="1200" dirty="0">
                <a:solidFill>
                  <a:schemeClr val="bg1"/>
                </a:solidFill>
                <a:latin typeface="+mj-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900" b="1" i="0" u="none" strike="noStrike" kern="1200" cap="none" spc="0" normalizeH="0" baseline="0" noProof="0">
              <a:ln>
                <a:noFill/>
              </a:ln>
              <a:solidFill>
                <a:sysClr val="window" lastClr="FFFFFF"/>
              </a:solidFill>
              <a:effectLst/>
              <a:uLnTx/>
              <a:uFillTx/>
              <a:latin typeface="+mn-lt"/>
              <a:ea typeface="+mn-ea"/>
              <a:cs typeface="+mn-cs"/>
            </a:endParaRPr>
          </a:p>
        </p:txBody>
      </p:sp>
      <p:sp>
        <p:nvSpPr>
          <p:cNvPr id="92" name="Text Placeholder 49">
            <a:extLst>
              <a:ext uri="{FF2B5EF4-FFF2-40B4-BE49-F238E27FC236}">
                <a16:creationId xmlns:a16="http://schemas.microsoft.com/office/drawing/2014/main" id="{03786C46-8FB6-458B-BF67-3F133ECA51B5}"/>
              </a:ext>
            </a:extLst>
          </p:cNvPr>
          <p:cNvSpPr txBox="1">
            <a:spLocks/>
          </p:cNvSpPr>
          <p:nvPr userDrawn="1"/>
        </p:nvSpPr>
        <p:spPr>
          <a:xfrm>
            <a:off x="4921955" y="3452040"/>
            <a:ext cx="519289" cy="139411"/>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900" b="1" kern="1200" dirty="0">
                <a:solidFill>
                  <a:schemeClr val="bg1"/>
                </a:solidFill>
                <a:latin typeface="+mj-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900" b="1" i="0" u="none" strike="noStrike" kern="1200" cap="none" spc="0" normalizeH="0" baseline="0" noProof="0">
              <a:ln>
                <a:noFill/>
              </a:ln>
              <a:solidFill>
                <a:sysClr val="window" lastClr="FFFFFF"/>
              </a:solidFill>
              <a:effectLst/>
              <a:uLnTx/>
              <a:uFillTx/>
              <a:latin typeface="+mn-lt"/>
              <a:ea typeface="+mn-ea"/>
              <a:cs typeface="+mn-cs"/>
            </a:endParaRPr>
          </a:p>
        </p:txBody>
      </p:sp>
      <p:sp>
        <p:nvSpPr>
          <p:cNvPr id="93" name="Text Placeholder 49">
            <a:extLst>
              <a:ext uri="{FF2B5EF4-FFF2-40B4-BE49-F238E27FC236}">
                <a16:creationId xmlns:a16="http://schemas.microsoft.com/office/drawing/2014/main" id="{1694F479-EEEA-41B2-92EB-DFAD5039E75E}"/>
              </a:ext>
            </a:extLst>
          </p:cNvPr>
          <p:cNvSpPr txBox="1">
            <a:spLocks/>
          </p:cNvSpPr>
          <p:nvPr userDrawn="1"/>
        </p:nvSpPr>
        <p:spPr>
          <a:xfrm>
            <a:off x="3209807" y="3452040"/>
            <a:ext cx="519289" cy="139411"/>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900" b="1" kern="1200" dirty="0">
                <a:solidFill>
                  <a:schemeClr val="bg1"/>
                </a:solidFill>
                <a:latin typeface="+mj-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900" b="1" i="0" u="none" strike="noStrike" kern="1200" cap="none" spc="0" normalizeH="0" baseline="0" noProof="0">
              <a:ln>
                <a:noFill/>
              </a:ln>
              <a:solidFill>
                <a:sysClr val="window" lastClr="FFFFFF"/>
              </a:solidFill>
              <a:effectLst/>
              <a:uLnTx/>
              <a:uFillTx/>
              <a:latin typeface="+mn-lt"/>
              <a:ea typeface="+mn-ea"/>
              <a:cs typeface="+mn-cs"/>
            </a:endParaRPr>
          </a:p>
        </p:txBody>
      </p:sp>
      <p:sp>
        <p:nvSpPr>
          <p:cNvPr id="94" name="Text Placeholder 49">
            <a:extLst>
              <a:ext uri="{FF2B5EF4-FFF2-40B4-BE49-F238E27FC236}">
                <a16:creationId xmlns:a16="http://schemas.microsoft.com/office/drawing/2014/main" id="{10A9FAB0-4FCD-4B9D-9A01-7DCE3165DCE4}"/>
              </a:ext>
            </a:extLst>
          </p:cNvPr>
          <p:cNvSpPr txBox="1">
            <a:spLocks/>
          </p:cNvSpPr>
          <p:nvPr userDrawn="1"/>
        </p:nvSpPr>
        <p:spPr>
          <a:xfrm>
            <a:off x="6713126" y="3452040"/>
            <a:ext cx="519289" cy="139411"/>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900" b="1" kern="1200" dirty="0">
                <a:solidFill>
                  <a:schemeClr val="bg1"/>
                </a:solidFill>
                <a:latin typeface="+mj-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900" b="1" i="0" u="none" strike="noStrike" kern="1200" cap="none" spc="0" normalizeH="0" baseline="0" noProof="0">
              <a:ln>
                <a:noFill/>
              </a:ln>
              <a:solidFill>
                <a:sysClr val="window" lastClr="FFFFFF"/>
              </a:solidFill>
              <a:effectLst/>
              <a:uLnTx/>
              <a:uFillTx/>
              <a:latin typeface="+mn-lt"/>
              <a:ea typeface="+mn-ea"/>
              <a:cs typeface="+mn-cs"/>
            </a:endParaRPr>
          </a:p>
        </p:txBody>
      </p:sp>
      <p:sp>
        <p:nvSpPr>
          <p:cNvPr id="95" name="Text Placeholder 49">
            <a:extLst>
              <a:ext uri="{FF2B5EF4-FFF2-40B4-BE49-F238E27FC236}">
                <a16:creationId xmlns:a16="http://schemas.microsoft.com/office/drawing/2014/main" id="{FD96BD54-AA4E-4677-833F-35D913781AFF}"/>
              </a:ext>
            </a:extLst>
          </p:cNvPr>
          <p:cNvSpPr txBox="1">
            <a:spLocks/>
          </p:cNvSpPr>
          <p:nvPr userDrawn="1"/>
        </p:nvSpPr>
        <p:spPr>
          <a:xfrm>
            <a:off x="8493008" y="3452040"/>
            <a:ext cx="519289" cy="139411"/>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900" b="1" kern="1200" dirty="0">
                <a:solidFill>
                  <a:schemeClr val="bg1"/>
                </a:solidFill>
                <a:latin typeface="+mj-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900" b="1" i="0" u="none" strike="noStrike" kern="1200" cap="none" spc="0" normalizeH="0" baseline="0" noProof="0">
              <a:ln>
                <a:noFill/>
              </a:ln>
              <a:solidFill>
                <a:sysClr val="window" lastClr="FFFFFF"/>
              </a:solidFill>
              <a:effectLst/>
              <a:uLnTx/>
              <a:uFillTx/>
              <a:latin typeface="+mn-lt"/>
              <a:ea typeface="+mn-ea"/>
              <a:cs typeface="+mn-cs"/>
            </a:endParaRPr>
          </a:p>
        </p:txBody>
      </p:sp>
      <p:sp>
        <p:nvSpPr>
          <p:cNvPr id="96" name="Text Placeholder 49">
            <a:extLst>
              <a:ext uri="{FF2B5EF4-FFF2-40B4-BE49-F238E27FC236}">
                <a16:creationId xmlns:a16="http://schemas.microsoft.com/office/drawing/2014/main" id="{4479416E-AC50-450D-B7BA-92773EF4A439}"/>
              </a:ext>
            </a:extLst>
          </p:cNvPr>
          <p:cNvSpPr txBox="1">
            <a:spLocks/>
          </p:cNvSpPr>
          <p:nvPr userDrawn="1"/>
        </p:nvSpPr>
        <p:spPr>
          <a:xfrm>
            <a:off x="10239023" y="3452040"/>
            <a:ext cx="519289" cy="139411"/>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900" b="1" kern="1200" dirty="0">
                <a:solidFill>
                  <a:schemeClr val="bg1"/>
                </a:solidFill>
                <a:latin typeface="+mj-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smtClean="0">
                <a:solidFill>
                  <a:schemeClr val="accent2"/>
                </a:solidFill>
                <a:latin typeface="+mn-lt"/>
                <a:ea typeface="+mn-ea"/>
                <a:cs typeface="Calibri Light" panose="020F0302020204030204" pitchFamily="34" charset="0"/>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050" kern="1200" dirty="0">
                <a:solidFill>
                  <a:schemeClr val="accent2"/>
                </a:solidFill>
                <a:latin typeface="+mn-lt"/>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900" b="1" i="0" u="none" strike="noStrike" kern="1200" cap="none" spc="0" normalizeH="0" baseline="0" noProof="0">
              <a:ln>
                <a:noFill/>
              </a:ln>
              <a:solidFill>
                <a:sysClr val="window" lastClr="FFFFFF"/>
              </a:solidFill>
              <a:effectLst/>
              <a:uLnTx/>
              <a:uFillTx/>
              <a:latin typeface="+mn-lt"/>
              <a:ea typeface="+mn-ea"/>
              <a:cs typeface="+mn-cs"/>
            </a:endParaRPr>
          </a:p>
        </p:txBody>
      </p:sp>
      <p:sp>
        <p:nvSpPr>
          <p:cNvPr id="37" name="Title 1">
            <a:extLst>
              <a:ext uri="{FF2B5EF4-FFF2-40B4-BE49-F238E27FC236}">
                <a16:creationId xmlns:a16="http://schemas.microsoft.com/office/drawing/2014/main" id="{4A6DF977-82D9-476B-A40A-12E2F186D2DB}"/>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38" name="Text Placeholder 5">
            <a:extLst>
              <a:ext uri="{FF2B5EF4-FFF2-40B4-BE49-F238E27FC236}">
                <a16:creationId xmlns:a16="http://schemas.microsoft.com/office/drawing/2014/main" id="{59281F3D-FB64-4433-9261-9BA6F8653FC0}"/>
              </a:ext>
            </a:extLst>
          </p:cNvPr>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
        <p:nvSpPr>
          <p:cNvPr id="36" name="Slide Number Placeholder 4">
            <a:extLst>
              <a:ext uri="{FF2B5EF4-FFF2-40B4-BE49-F238E27FC236}">
                <a16:creationId xmlns:a16="http://schemas.microsoft.com/office/drawing/2014/main" id="{A10727F4-480D-4C7B-80CC-0CE5457D7687}"/>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Tree>
    <p:extLst>
      <p:ext uri="{BB962C8B-B14F-4D97-AF65-F5344CB8AC3E}">
        <p14:creationId xmlns:p14="http://schemas.microsoft.com/office/powerpoint/2010/main" val="41387946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42" name="Text Placeholder 89">
            <a:extLst>
              <a:ext uri="{FF2B5EF4-FFF2-40B4-BE49-F238E27FC236}">
                <a16:creationId xmlns:a16="http://schemas.microsoft.com/office/drawing/2014/main" id="{708623DE-F49E-4E82-97CB-4B560BD404D7}"/>
              </a:ext>
            </a:extLst>
          </p:cNvPr>
          <p:cNvSpPr txBox="1">
            <a:spLocks/>
          </p:cNvSpPr>
          <p:nvPr userDrawn="1"/>
        </p:nvSpPr>
        <p:spPr>
          <a:xfrm>
            <a:off x="1170203" y="1733006"/>
            <a:ext cx="1584000" cy="15234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100" kern="1200">
                <a:solidFill>
                  <a:schemeClr val="tx1"/>
                </a:solidFill>
                <a:latin typeface="+mn-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282828"/>
              </a:solidFill>
              <a:effectLst/>
              <a:uLnTx/>
              <a:uFillTx/>
              <a:latin typeface="+mn-lt"/>
              <a:ea typeface="+mn-ea"/>
              <a:cs typeface="+mn-cs"/>
            </a:endParaRPr>
          </a:p>
        </p:txBody>
      </p:sp>
      <p:sp>
        <p:nvSpPr>
          <p:cNvPr id="43" name="Text Placeholder 89">
            <a:extLst>
              <a:ext uri="{FF2B5EF4-FFF2-40B4-BE49-F238E27FC236}">
                <a16:creationId xmlns:a16="http://schemas.microsoft.com/office/drawing/2014/main" id="{27B62DB2-D1BB-4A4E-91B8-3C0F0D6297B8}"/>
              </a:ext>
            </a:extLst>
          </p:cNvPr>
          <p:cNvSpPr txBox="1">
            <a:spLocks/>
          </p:cNvSpPr>
          <p:nvPr userDrawn="1"/>
        </p:nvSpPr>
        <p:spPr>
          <a:xfrm>
            <a:off x="4630626" y="1778691"/>
            <a:ext cx="1584000" cy="15234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100" kern="1200">
                <a:solidFill>
                  <a:schemeClr val="tx1"/>
                </a:solidFill>
                <a:latin typeface="+mn-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282828"/>
              </a:solidFill>
              <a:effectLst/>
              <a:uLnTx/>
              <a:uFillTx/>
              <a:latin typeface="+mn-lt"/>
              <a:ea typeface="+mn-ea"/>
              <a:cs typeface="+mn-cs"/>
            </a:endParaRPr>
          </a:p>
        </p:txBody>
      </p:sp>
      <p:sp>
        <p:nvSpPr>
          <p:cNvPr id="44" name="Text Placeholder 89">
            <a:extLst>
              <a:ext uri="{FF2B5EF4-FFF2-40B4-BE49-F238E27FC236}">
                <a16:creationId xmlns:a16="http://schemas.microsoft.com/office/drawing/2014/main" id="{41F9777D-0275-4BE7-836D-C62E20FF0F9D}"/>
              </a:ext>
            </a:extLst>
          </p:cNvPr>
          <p:cNvSpPr txBox="1">
            <a:spLocks/>
          </p:cNvSpPr>
          <p:nvPr userDrawn="1"/>
        </p:nvSpPr>
        <p:spPr>
          <a:xfrm>
            <a:off x="8078135" y="1778691"/>
            <a:ext cx="1584000" cy="15234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100" kern="1200">
                <a:solidFill>
                  <a:schemeClr val="tx1"/>
                </a:solidFill>
                <a:latin typeface="+mn-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282828"/>
              </a:solidFill>
              <a:effectLst/>
              <a:uLnTx/>
              <a:uFillTx/>
              <a:latin typeface="+mn-lt"/>
              <a:ea typeface="+mn-ea"/>
              <a:cs typeface="+mn-cs"/>
            </a:endParaRPr>
          </a:p>
        </p:txBody>
      </p:sp>
      <p:sp>
        <p:nvSpPr>
          <p:cNvPr id="45" name="Text Placeholder 89">
            <a:extLst>
              <a:ext uri="{FF2B5EF4-FFF2-40B4-BE49-F238E27FC236}">
                <a16:creationId xmlns:a16="http://schemas.microsoft.com/office/drawing/2014/main" id="{DB3635A9-13B4-484C-80E7-E8226B1EF2B9}"/>
              </a:ext>
            </a:extLst>
          </p:cNvPr>
          <p:cNvSpPr txBox="1">
            <a:spLocks/>
          </p:cNvSpPr>
          <p:nvPr userDrawn="1"/>
        </p:nvSpPr>
        <p:spPr>
          <a:xfrm>
            <a:off x="9769574" y="4680283"/>
            <a:ext cx="1584000" cy="15234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100" kern="1200">
                <a:solidFill>
                  <a:schemeClr val="tx1"/>
                </a:solidFill>
                <a:latin typeface="+mn-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282828"/>
              </a:solidFill>
              <a:effectLst/>
              <a:uLnTx/>
              <a:uFillTx/>
              <a:latin typeface="+mn-lt"/>
              <a:ea typeface="+mn-ea"/>
              <a:cs typeface="+mn-cs"/>
            </a:endParaRPr>
          </a:p>
        </p:txBody>
      </p:sp>
      <p:sp>
        <p:nvSpPr>
          <p:cNvPr id="46" name="Text Placeholder 89">
            <a:extLst>
              <a:ext uri="{FF2B5EF4-FFF2-40B4-BE49-F238E27FC236}">
                <a16:creationId xmlns:a16="http://schemas.microsoft.com/office/drawing/2014/main" id="{F5E60908-B8FB-41F4-AA88-6828C475AE4C}"/>
              </a:ext>
            </a:extLst>
          </p:cNvPr>
          <p:cNvSpPr txBox="1">
            <a:spLocks/>
          </p:cNvSpPr>
          <p:nvPr userDrawn="1"/>
        </p:nvSpPr>
        <p:spPr>
          <a:xfrm>
            <a:off x="6322061" y="4680283"/>
            <a:ext cx="1584000" cy="15234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100" kern="1200">
                <a:solidFill>
                  <a:schemeClr val="tx1"/>
                </a:solidFill>
                <a:latin typeface="+mn-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282828"/>
              </a:solidFill>
              <a:effectLst/>
              <a:uLnTx/>
              <a:uFillTx/>
              <a:latin typeface="+mn-lt"/>
              <a:ea typeface="+mn-ea"/>
              <a:cs typeface="+mn-cs"/>
            </a:endParaRPr>
          </a:p>
        </p:txBody>
      </p:sp>
      <p:sp>
        <p:nvSpPr>
          <p:cNvPr id="47" name="Text Placeholder 89">
            <a:extLst>
              <a:ext uri="{FF2B5EF4-FFF2-40B4-BE49-F238E27FC236}">
                <a16:creationId xmlns:a16="http://schemas.microsoft.com/office/drawing/2014/main" id="{79B902E0-1213-4970-AA15-EA4DADC3401B}"/>
              </a:ext>
            </a:extLst>
          </p:cNvPr>
          <p:cNvSpPr txBox="1">
            <a:spLocks/>
          </p:cNvSpPr>
          <p:nvPr userDrawn="1"/>
        </p:nvSpPr>
        <p:spPr>
          <a:xfrm>
            <a:off x="2861642" y="4680283"/>
            <a:ext cx="1584000" cy="15234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100" kern="1200">
                <a:solidFill>
                  <a:schemeClr val="tx1"/>
                </a:solidFill>
                <a:latin typeface="+mn-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100" b="0" i="0" u="none" strike="noStrike" kern="1200" cap="none" spc="0" normalizeH="0" baseline="0" noProof="0">
              <a:ln>
                <a:noFill/>
              </a:ln>
              <a:solidFill>
                <a:srgbClr val="282828"/>
              </a:solidFill>
              <a:effectLst/>
              <a:uLnTx/>
              <a:uFillTx/>
              <a:latin typeface="+mn-lt"/>
              <a:ea typeface="+mn-ea"/>
              <a:cs typeface="+mn-cs"/>
            </a:endParaRPr>
          </a:p>
        </p:txBody>
      </p:sp>
      <p:sp>
        <p:nvSpPr>
          <p:cNvPr id="48" name="Text Placeholder 89">
            <a:extLst>
              <a:ext uri="{FF2B5EF4-FFF2-40B4-BE49-F238E27FC236}">
                <a16:creationId xmlns:a16="http://schemas.microsoft.com/office/drawing/2014/main" id="{B5EF3F13-E62C-4E2E-99F4-AF60D0E0F877}"/>
              </a:ext>
            </a:extLst>
          </p:cNvPr>
          <p:cNvSpPr txBox="1">
            <a:spLocks/>
          </p:cNvSpPr>
          <p:nvPr userDrawn="1"/>
        </p:nvSpPr>
        <p:spPr>
          <a:xfrm>
            <a:off x="2861642" y="4418761"/>
            <a:ext cx="1584000"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400" kern="1200">
                <a:solidFill>
                  <a:schemeClr val="tx1"/>
                </a:solidFill>
                <a:latin typeface="+mj-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282828"/>
              </a:solidFill>
              <a:effectLst/>
              <a:uLnTx/>
              <a:uFillTx/>
              <a:latin typeface="+mn-lt"/>
              <a:ea typeface="+mn-ea"/>
              <a:cs typeface="+mn-cs"/>
            </a:endParaRPr>
          </a:p>
        </p:txBody>
      </p:sp>
      <p:sp>
        <p:nvSpPr>
          <p:cNvPr id="49" name="Text Placeholder 89">
            <a:extLst>
              <a:ext uri="{FF2B5EF4-FFF2-40B4-BE49-F238E27FC236}">
                <a16:creationId xmlns:a16="http://schemas.microsoft.com/office/drawing/2014/main" id="{73464B0C-6F3B-440F-B49F-97BBAB0216DA}"/>
              </a:ext>
            </a:extLst>
          </p:cNvPr>
          <p:cNvSpPr txBox="1">
            <a:spLocks/>
          </p:cNvSpPr>
          <p:nvPr userDrawn="1"/>
        </p:nvSpPr>
        <p:spPr>
          <a:xfrm>
            <a:off x="6322061" y="4418761"/>
            <a:ext cx="1584000"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400" kern="1200">
                <a:solidFill>
                  <a:schemeClr val="tx1"/>
                </a:solidFill>
                <a:latin typeface="+mj-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282828"/>
              </a:solidFill>
              <a:effectLst/>
              <a:uLnTx/>
              <a:uFillTx/>
              <a:latin typeface="+mn-lt"/>
              <a:ea typeface="+mn-ea"/>
              <a:cs typeface="+mn-cs"/>
            </a:endParaRPr>
          </a:p>
        </p:txBody>
      </p:sp>
      <p:sp>
        <p:nvSpPr>
          <p:cNvPr id="50" name="Text Placeholder 89">
            <a:extLst>
              <a:ext uri="{FF2B5EF4-FFF2-40B4-BE49-F238E27FC236}">
                <a16:creationId xmlns:a16="http://schemas.microsoft.com/office/drawing/2014/main" id="{9F0B1F29-7FC1-4AFB-B208-3762133FA64B}"/>
              </a:ext>
            </a:extLst>
          </p:cNvPr>
          <p:cNvSpPr txBox="1">
            <a:spLocks/>
          </p:cNvSpPr>
          <p:nvPr userDrawn="1"/>
        </p:nvSpPr>
        <p:spPr>
          <a:xfrm>
            <a:off x="9769574" y="4418761"/>
            <a:ext cx="1584000"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400" kern="1200">
                <a:solidFill>
                  <a:schemeClr val="tx1"/>
                </a:solidFill>
                <a:latin typeface="+mj-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282828"/>
              </a:solidFill>
              <a:effectLst/>
              <a:uLnTx/>
              <a:uFillTx/>
              <a:latin typeface="+mn-lt"/>
              <a:ea typeface="+mn-ea"/>
              <a:cs typeface="+mn-cs"/>
            </a:endParaRPr>
          </a:p>
        </p:txBody>
      </p:sp>
      <p:sp>
        <p:nvSpPr>
          <p:cNvPr id="51" name="Text Placeholder 89">
            <a:extLst>
              <a:ext uri="{FF2B5EF4-FFF2-40B4-BE49-F238E27FC236}">
                <a16:creationId xmlns:a16="http://schemas.microsoft.com/office/drawing/2014/main" id="{F83A71FC-635D-4BAD-93D0-6866C7A07DE7}"/>
              </a:ext>
            </a:extLst>
          </p:cNvPr>
          <p:cNvSpPr txBox="1">
            <a:spLocks/>
          </p:cNvSpPr>
          <p:nvPr userDrawn="1"/>
        </p:nvSpPr>
        <p:spPr>
          <a:xfrm>
            <a:off x="8078135" y="1518893"/>
            <a:ext cx="1584000"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400" kern="1200">
                <a:solidFill>
                  <a:schemeClr val="tx1"/>
                </a:solidFill>
                <a:latin typeface="+mj-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282828"/>
              </a:solidFill>
              <a:effectLst/>
              <a:uLnTx/>
              <a:uFillTx/>
              <a:latin typeface="+mn-lt"/>
              <a:ea typeface="+mn-ea"/>
              <a:cs typeface="+mn-cs"/>
            </a:endParaRPr>
          </a:p>
        </p:txBody>
      </p:sp>
      <p:sp>
        <p:nvSpPr>
          <p:cNvPr id="52" name="Text Placeholder 89">
            <a:extLst>
              <a:ext uri="{FF2B5EF4-FFF2-40B4-BE49-F238E27FC236}">
                <a16:creationId xmlns:a16="http://schemas.microsoft.com/office/drawing/2014/main" id="{95EEA539-C467-4FAF-A6A4-23C903C46D7F}"/>
              </a:ext>
            </a:extLst>
          </p:cNvPr>
          <p:cNvSpPr txBox="1">
            <a:spLocks/>
          </p:cNvSpPr>
          <p:nvPr userDrawn="1"/>
        </p:nvSpPr>
        <p:spPr>
          <a:xfrm>
            <a:off x="4630626" y="1518893"/>
            <a:ext cx="1584000" cy="193899"/>
          </a:xfrm>
          <a:prstGeom prst="rect">
            <a:avLst/>
          </a:prstGeom>
        </p:spPr>
        <p:txBody>
          <a:bodyPr vert="horz"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400" kern="1200">
                <a:solidFill>
                  <a:schemeClr val="tx1"/>
                </a:solidFill>
                <a:latin typeface="+mj-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282828"/>
              </a:solidFill>
              <a:effectLst/>
              <a:uLnTx/>
              <a:uFillTx/>
              <a:latin typeface="+mn-lt"/>
              <a:ea typeface="+mn-ea"/>
              <a:cs typeface="+mn-cs"/>
            </a:endParaRPr>
          </a:p>
        </p:txBody>
      </p:sp>
      <p:sp>
        <p:nvSpPr>
          <p:cNvPr id="53" name="Text Placeholder 89">
            <a:extLst>
              <a:ext uri="{FF2B5EF4-FFF2-40B4-BE49-F238E27FC236}">
                <a16:creationId xmlns:a16="http://schemas.microsoft.com/office/drawing/2014/main" id="{65FA2109-1F10-4D67-A0FA-637A4203D3C9}"/>
              </a:ext>
            </a:extLst>
          </p:cNvPr>
          <p:cNvSpPr txBox="1">
            <a:spLocks/>
          </p:cNvSpPr>
          <p:nvPr userDrawn="1"/>
        </p:nvSpPr>
        <p:spPr>
          <a:xfrm>
            <a:off x="1170203" y="1503576"/>
            <a:ext cx="1584000" cy="1938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400" kern="1200">
                <a:solidFill>
                  <a:schemeClr val="tx1"/>
                </a:solidFill>
                <a:latin typeface="+mj-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400" b="0" i="0" u="none" strike="noStrike" kern="1200" cap="none" spc="0" normalizeH="0" baseline="0" noProof="0">
              <a:ln>
                <a:noFill/>
              </a:ln>
              <a:solidFill>
                <a:srgbClr val="282828"/>
              </a:solidFill>
              <a:effectLst/>
              <a:uLnTx/>
              <a:uFillTx/>
              <a:latin typeface="+mn-lt"/>
              <a:ea typeface="+mn-ea"/>
              <a:cs typeface="+mn-cs"/>
            </a:endParaRPr>
          </a:p>
        </p:txBody>
      </p:sp>
      <p:sp>
        <p:nvSpPr>
          <p:cNvPr id="54" name="Text Placeholder 89">
            <a:extLst>
              <a:ext uri="{FF2B5EF4-FFF2-40B4-BE49-F238E27FC236}">
                <a16:creationId xmlns:a16="http://schemas.microsoft.com/office/drawing/2014/main" id="{3E6ACFB3-B828-4003-933F-3F06467E4541}"/>
              </a:ext>
            </a:extLst>
          </p:cNvPr>
          <p:cNvSpPr txBox="1">
            <a:spLocks/>
          </p:cNvSpPr>
          <p:nvPr userDrawn="1"/>
        </p:nvSpPr>
        <p:spPr>
          <a:xfrm>
            <a:off x="1870674" y="6037957"/>
            <a:ext cx="9292626" cy="152349"/>
          </a:xfrm>
          <a:prstGeom prst="rect">
            <a:avLst/>
          </a:prstGeom>
        </p:spPr>
        <p:txBody>
          <a:bodyPr vert="horz" wrap="square" lIns="0" tIns="0" rIns="0" bIns="0" rtlCol="0" anchor="ctr">
            <a:spAutoFit/>
          </a:bodyPr>
          <a:lstStyle>
            <a:lvl1pPr marL="0" indent="0" algn="l" defTabSz="914400" rtl="0" eaLnBrk="1" latinLnBrk="0" hangingPunct="1">
              <a:lnSpc>
                <a:spcPct val="90000"/>
              </a:lnSpc>
              <a:spcBef>
                <a:spcPts val="1000"/>
              </a:spcBef>
              <a:buClr>
                <a:schemeClr val="accent1"/>
              </a:buClr>
              <a:buSzPct val="90000"/>
              <a:buFont typeface="Wingdings" panose="05000000000000000000" pitchFamily="2" charset="2"/>
              <a:buNone/>
              <a:defRPr sz="1100" kern="1200">
                <a:solidFill>
                  <a:schemeClr val="bg1"/>
                </a:solidFill>
                <a:latin typeface="+mn-lt"/>
                <a:ea typeface="+mn-ea"/>
                <a:cs typeface="+mn-cs"/>
              </a:defRPr>
            </a:lvl1pPr>
            <a:lvl2pPr marL="4572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Clr>
                <a:schemeClr val="accent1"/>
              </a:buClr>
              <a:buSzPct val="90000"/>
              <a:buFont typeface="Wingdings" panose="05000000000000000000" pitchFamily="2" charset="2"/>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en-US" sz="1100" b="0" i="0" u="none" strike="noStrike" kern="1200" cap="none" spc="0" normalizeH="0" baseline="0" noProof="0">
              <a:ln>
                <a:noFill/>
              </a:ln>
              <a:solidFill>
                <a:sysClr val="window" lastClr="FFFFFF"/>
              </a:solidFill>
              <a:effectLst/>
              <a:uLnTx/>
              <a:uFillTx/>
              <a:latin typeface="+mn-lt"/>
              <a:ea typeface="+mn-ea"/>
              <a:cs typeface="+mn-cs"/>
            </a:endParaRPr>
          </a:p>
        </p:txBody>
      </p:sp>
      <p:sp>
        <p:nvSpPr>
          <p:cNvPr id="39" name="Oval 9">
            <a:extLst>
              <a:ext uri="{FF2B5EF4-FFF2-40B4-BE49-F238E27FC236}">
                <a16:creationId xmlns:a16="http://schemas.microsoft.com/office/drawing/2014/main" id="{125AFB5D-B150-48DB-9BE2-0CEBD84978BA}"/>
              </a:ext>
            </a:extLst>
          </p:cNvPr>
          <p:cNvSpPr>
            <a:spLocks noChangeArrowheads="1"/>
          </p:cNvSpPr>
          <p:nvPr userDrawn="1"/>
        </p:nvSpPr>
        <p:spPr bwMode="auto">
          <a:xfrm>
            <a:off x="2742371" y="3739173"/>
            <a:ext cx="1008281" cy="1008281"/>
          </a:xfrm>
          <a:prstGeom prst="ellipse">
            <a:avLst/>
          </a:prstGeom>
          <a:solidFill>
            <a:srgbClr val="FFCC00"/>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282828"/>
              </a:solidFill>
              <a:effectLst/>
              <a:uLnTx/>
              <a:uFillTx/>
              <a:latin typeface="+mn-lt"/>
            </a:endParaRPr>
          </a:p>
        </p:txBody>
      </p:sp>
      <p:sp>
        <p:nvSpPr>
          <p:cNvPr id="41" name="Oval 9">
            <a:extLst>
              <a:ext uri="{FF2B5EF4-FFF2-40B4-BE49-F238E27FC236}">
                <a16:creationId xmlns:a16="http://schemas.microsoft.com/office/drawing/2014/main" id="{751192FE-A973-4397-9D87-3483DB6AC8FE}"/>
              </a:ext>
            </a:extLst>
          </p:cNvPr>
          <p:cNvSpPr>
            <a:spLocks noChangeArrowheads="1"/>
          </p:cNvSpPr>
          <p:nvPr userDrawn="1"/>
        </p:nvSpPr>
        <p:spPr bwMode="auto">
          <a:xfrm>
            <a:off x="4166606" y="2927235"/>
            <a:ext cx="1008281" cy="1008281"/>
          </a:xfrm>
          <a:prstGeom prst="ellipse">
            <a:avLst/>
          </a:prstGeom>
          <a:solidFill>
            <a:srgbClr val="FFCC00"/>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282828"/>
              </a:solidFill>
              <a:effectLst/>
              <a:uLnTx/>
              <a:uFillTx/>
              <a:latin typeface="+mn-lt"/>
            </a:endParaRPr>
          </a:p>
        </p:txBody>
      </p:sp>
      <p:sp>
        <p:nvSpPr>
          <p:cNvPr id="55" name="Oval 9">
            <a:extLst>
              <a:ext uri="{FF2B5EF4-FFF2-40B4-BE49-F238E27FC236}">
                <a16:creationId xmlns:a16="http://schemas.microsoft.com/office/drawing/2014/main" id="{233D45E0-727F-4629-ABBD-F97E16BA875F}"/>
              </a:ext>
            </a:extLst>
          </p:cNvPr>
          <p:cNvSpPr>
            <a:spLocks noChangeArrowheads="1"/>
          </p:cNvSpPr>
          <p:nvPr userDrawn="1"/>
        </p:nvSpPr>
        <p:spPr bwMode="auto">
          <a:xfrm>
            <a:off x="7015077" y="2927235"/>
            <a:ext cx="1008281" cy="1008281"/>
          </a:xfrm>
          <a:prstGeom prst="ellipse">
            <a:avLst/>
          </a:prstGeom>
          <a:solidFill>
            <a:srgbClr val="FFCC00"/>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282828"/>
              </a:solidFill>
              <a:effectLst/>
              <a:uLnTx/>
              <a:uFillTx/>
              <a:latin typeface="+mn-lt"/>
            </a:endParaRPr>
          </a:p>
        </p:txBody>
      </p:sp>
      <p:sp>
        <p:nvSpPr>
          <p:cNvPr id="56" name="Oval 9">
            <a:extLst>
              <a:ext uri="{FF2B5EF4-FFF2-40B4-BE49-F238E27FC236}">
                <a16:creationId xmlns:a16="http://schemas.microsoft.com/office/drawing/2014/main" id="{EEA0F91D-2546-41FE-8835-EE40E83D9861}"/>
              </a:ext>
            </a:extLst>
          </p:cNvPr>
          <p:cNvSpPr>
            <a:spLocks noChangeArrowheads="1"/>
          </p:cNvSpPr>
          <p:nvPr userDrawn="1"/>
        </p:nvSpPr>
        <p:spPr bwMode="auto">
          <a:xfrm>
            <a:off x="5590842" y="3739173"/>
            <a:ext cx="1008281" cy="1008281"/>
          </a:xfrm>
          <a:prstGeom prst="ellipse">
            <a:avLst/>
          </a:prstGeom>
          <a:solidFill>
            <a:srgbClr val="FFCC00"/>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282828"/>
              </a:solidFill>
              <a:effectLst/>
              <a:uLnTx/>
              <a:uFillTx/>
              <a:latin typeface="+mn-lt"/>
            </a:endParaRPr>
          </a:p>
        </p:txBody>
      </p:sp>
      <p:sp>
        <p:nvSpPr>
          <p:cNvPr id="57" name="Oval 9">
            <a:extLst>
              <a:ext uri="{FF2B5EF4-FFF2-40B4-BE49-F238E27FC236}">
                <a16:creationId xmlns:a16="http://schemas.microsoft.com/office/drawing/2014/main" id="{FCFF224F-A0F3-415F-A931-679C671C82E3}"/>
              </a:ext>
            </a:extLst>
          </p:cNvPr>
          <p:cNvSpPr>
            <a:spLocks noChangeArrowheads="1"/>
          </p:cNvSpPr>
          <p:nvPr userDrawn="1"/>
        </p:nvSpPr>
        <p:spPr bwMode="auto">
          <a:xfrm>
            <a:off x="8439313" y="3739173"/>
            <a:ext cx="1008281" cy="1008281"/>
          </a:xfrm>
          <a:prstGeom prst="ellipse">
            <a:avLst/>
          </a:prstGeom>
          <a:solidFill>
            <a:srgbClr val="FFCC00"/>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a:ln>
                <a:noFill/>
              </a:ln>
              <a:solidFill>
                <a:srgbClr val="282828"/>
              </a:solidFill>
              <a:effectLst/>
              <a:uLnTx/>
              <a:uFillTx/>
              <a:latin typeface="+mn-lt"/>
            </a:endParaRPr>
          </a:p>
        </p:txBody>
      </p:sp>
      <p:sp>
        <p:nvSpPr>
          <p:cNvPr id="61" name="Text Placeholder 15">
            <a:extLst>
              <a:ext uri="{FF2B5EF4-FFF2-40B4-BE49-F238E27FC236}">
                <a16:creationId xmlns:a16="http://schemas.microsoft.com/office/drawing/2014/main" id="{3A2417F7-BB13-4B03-85FC-16BB640438FF}"/>
              </a:ext>
            </a:extLst>
          </p:cNvPr>
          <p:cNvSpPr txBox="1">
            <a:spLocks/>
          </p:cNvSpPr>
          <p:nvPr userDrawn="1"/>
        </p:nvSpPr>
        <p:spPr>
          <a:xfrm>
            <a:off x="3561432" y="1513875"/>
            <a:ext cx="2220665" cy="183600"/>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200" b="1" i="0" u="none" strike="noStrike" kern="1200" cap="none" spc="0" normalizeH="0" baseline="0" noProof="0">
              <a:ln>
                <a:noFill/>
              </a:ln>
              <a:solidFill>
                <a:srgbClr val="282828"/>
              </a:solidFill>
              <a:effectLst/>
              <a:uLnTx/>
              <a:uFillTx/>
              <a:latin typeface="+mn-lt"/>
              <a:ea typeface="+mn-ea"/>
              <a:cs typeface="+mn-cs"/>
            </a:endParaRPr>
          </a:p>
        </p:txBody>
      </p:sp>
      <p:sp>
        <p:nvSpPr>
          <p:cNvPr id="62" name="Text Placeholder 15">
            <a:extLst>
              <a:ext uri="{FF2B5EF4-FFF2-40B4-BE49-F238E27FC236}">
                <a16:creationId xmlns:a16="http://schemas.microsoft.com/office/drawing/2014/main" id="{530576DE-8744-47D4-B46F-CEBD86B94E22}"/>
              </a:ext>
            </a:extLst>
          </p:cNvPr>
          <p:cNvSpPr txBox="1">
            <a:spLocks/>
          </p:cNvSpPr>
          <p:nvPr userDrawn="1"/>
        </p:nvSpPr>
        <p:spPr>
          <a:xfrm>
            <a:off x="6409903" y="1513875"/>
            <a:ext cx="2220665" cy="183600"/>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200" b="1" i="0" u="none" strike="noStrike" kern="1200" cap="none" spc="0" normalizeH="0" baseline="0" noProof="0">
              <a:ln>
                <a:noFill/>
              </a:ln>
              <a:solidFill>
                <a:srgbClr val="282828"/>
              </a:solidFill>
              <a:effectLst/>
              <a:uLnTx/>
              <a:uFillTx/>
              <a:latin typeface="+mn-lt"/>
              <a:ea typeface="+mn-ea"/>
              <a:cs typeface="+mn-cs"/>
            </a:endParaRPr>
          </a:p>
        </p:txBody>
      </p:sp>
      <p:sp>
        <p:nvSpPr>
          <p:cNvPr id="63" name="Text Placeholder 15">
            <a:extLst>
              <a:ext uri="{FF2B5EF4-FFF2-40B4-BE49-F238E27FC236}">
                <a16:creationId xmlns:a16="http://schemas.microsoft.com/office/drawing/2014/main" id="{1C2558C2-B7A0-48BF-9F7D-77EBBD535646}"/>
              </a:ext>
            </a:extLst>
          </p:cNvPr>
          <p:cNvSpPr txBox="1">
            <a:spLocks/>
          </p:cNvSpPr>
          <p:nvPr userDrawn="1"/>
        </p:nvSpPr>
        <p:spPr>
          <a:xfrm>
            <a:off x="6409903" y="1713192"/>
            <a:ext cx="2220665" cy="324000"/>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00" kern="1200" dirty="0">
                <a:solidFill>
                  <a:schemeClr val="tx1"/>
                </a:solidFill>
                <a:latin typeface="+mn-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00" b="0" i="0" u="none" strike="noStrike" kern="1200" cap="none" spc="0" normalizeH="0" baseline="0" noProof="0">
              <a:ln>
                <a:noFill/>
              </a:ln>
              <a:solidFill>
                <a:srgbClr val="282828"/>
              </a:solidFill>
              <a:effectLst/>
              <a:uLnTx/>
              <a:uFillTx/>
              <a:latin typeface="+mn-lt"/>
              <a:ea typeface="+mn-ea"/>
              <a:cs typeface="+mn-cs"/>
            </a:endParaRPr>
          </a:p>
        </p:txBody>
      </p:sp>
      <p:sp>
        <p:nvSpPr>
          <p:cNvPr id="64" name="Text Placeholder 15">
            <a:extLst>
              <a:ext uri="{FF2B5EF4-FFF2-40B4-BE49-F238E27FC236}">
                <a16:creationId xmlns:a16="http://schemas.microsoft.com/office/drawing/2014/main" id="{BB4D2892-ED60-4162-866D-26641DC07D5D}"/>
              </a:ext>
            </a:extLst>
          </p:cNvPr>
          <p:cNvSpPr txBox="1">
            <a:spLocks/>
          </p:cNvSpPr>
          <p:nvPr userDrawn="1"/>
        </p:nvSpPr>
        <p:spPr>
          <a:xfrm>
            <a:off x="3561432" y="1713192"/>
            <a:ext cx="2220665" cy="324000"/>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00" kern="1200" dirty="0">
                <a:solidFill>
                  <a:schemeClr val="tx1"/>
                </a:solidFill>
                <a:latin typeface="+mn-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00" b="0" i="0" u="none" strike="noStrike" kern="1200" cap="none" spc="0" normalizeH="0" baseline="0" noProof="0">
              <a:ln>
                <a:noFill/>
              </a:ln>
              <a:solidFill>
                <a:srgbClr val="282828"/>
              </a:solidFill>
              <a:effectLst/>
              <a:uLnTx/>
              <a:uFillTx/>
              <a:latin typeface="+mn-lt"/>
              <a:ea typeface="+mn-ea"/>
              <a:cs typeface="+mn-cs"/>
            </a:endParaRPr>
          </a:p>
        </p:txBody>
      </p:sp>
      <p:sp>
        <p:nvSpPr>
          <p:cNvPr id="65" name="Text Placeholder 15">
            <a:extLst>
              <a:ext uri="{FF2B5EF4-FFF2-40B4-BE49-F238E27FC236}">
                <a16:creationId xmlns:a16="http://schemas.microsoft.com/office/drawing/2014/main" id="{6A20B28B-DB5F-4C8C-B756-BEECC667A1E0}"/>
              </a:ext>
            </a:extLst>
          </p:cNvPr>
          <p:cNvSpPr txBox="1">
            <a:spLocks/>
          </p:cNvSpPr>
          <p:nvPr userDrawn="1"/>
        </p:nvSpPr>
        <p:spPr>
          <a:xfrm>
            <a:off x="7834139" y="5514143"/>
            <a:ext cx="2220665" cy="183600"/>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200" b="1" i="0" u="none" strike="noStrike" kern="1200" cap="none" spc="0" normalizeH="0" baseline="0" noProof="0">
              <a:ln>
                <a:noFill/>
              </a:ln>
              <a:solidFill>
                <a:srgbClr val="282828"/>
              </a:solidFill>
              <a:effectLst/>
              <a:uLnTx/>
              <a:uFillTx/>
              <a:latin typeface="+mn-lt"/>
              <a:ea typeface="+mn-ea"/>
              <a:cs typeface="+mn-cs"/>
            </a:endParaRPr>
          </a:p>
        </p:txBody>
      </p:sp>
      <p:sp>
        <p:nvSpPr>
          <p:cNvPr id="66" name="Text Placeholder 15">
            <a:extLst>
              <a:ext uri="{FF2B5EF4-FFF2-40B4-BE49-F238E27FC236}">
                <a16:creationId xmlns:a16="http://schemas.microsoft.com/office/drawing/2014/main" id="{D2F6C721-DCAC-4324-A495-A13FEA4F3B9E}"/>
              </a:ext>
            </a:extLst>
          </p:cNvPr>
          <p:cNvSpPr txBox="1">
            <a:spLocks/>
          </p:cNvSpPr>
          <p:nvPr userDrawn="1"/>
        </p:nvSpPr>
        <p:spPr>
          <a:xfrm>
            <a:off x="7834139" y="5713460"/>
            <a:ext cx="2220665" cy="324000"/>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00" kern="1200" dirty="0">
                <a:solidFill>
                  <a:schemeClr val="tx1"/>
                </a:solidFill>
                <a:latin typeface="+mn-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00" b="0" i="0" u="none" strike="noStrike" kern="1200" cap="none" spc="0" normalizeH="0" baseline="0" noProof="0">
              <a:ln>
                <a:noFill/>
              </a:ln>
              <a:solidFill>
                <a:srgbClr val="282828"/>
              </a:solidFill>
              <a:effectLst/>
              <a:uLnTx/>
              <a:uFillTx/>
              <a:latin typeface="+mn-lt"/>
              <a:ea typeface="+mn-ea"/>
              <a:cs typeface="+mn-cs"/>
            </a:endParaRPr>
          </a:p>
        </p:txBody>
      </p:sp>
      <p:sp>
        <p:nvSpPr>
          <p:cNvPr id="67" name="Text Placeholder 15">
            <a:extLst>
              <a:ext uri="{FF2B5EF4-FFF2-40B4-BE49-F238E27FC236}">
                <a16:creationId xmlns:a16="http://schemas.microsoft.com/office/drawing/2014/main" id="{A0AF8899-5128-4CF6-B810-0B050026CF48}"/>
              </a:ext>
            </a:extLst>
          </p:cNvPr>
          <p:cNvSpPr txBox="1">
            <a:spLocks/>
          </p:cNvSpPr>
          <p:nvPr userDrawn="1"/>
        </p:nvSpPr>
        <p:spPr>
          <a:xfrm>
            <a:off x="2137197" y="5514143"/>
            <a:ext cx="2220665" cy="183600"/>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200" b="1" i="0" u="none" strike="noStrike" kern="1200" cap="none" spc="0" normalizeH="0" baseline="0" noProof="0">
              <a:ln>
                <a:noFill/>
              </a:ln>
              <a:solidFill>
                <a:srgbClr val="282828"/>
              </a:solidFill>
              <a:effectLst/>
              <a:uLnTx/>
              <a:uFillTx/>
              <a:latin typeface="+mn-lt"/>
              <a:ea typeface="+mn-ea"/>
              <a:cs typeface="+mn-cs"/>
            </a:endParaRPr>
          </a:p>
        </p:txBody>
      </p:sp>
      <p:sp>
        <p:nvSpPr>
          <p:cNvPr id="68" name="Text Placeholder 15">
            <a:extLst>
              <a:ext uri="{FF2B5EF4-FFF2-40B4-BE49-F238E27FC236}">
                <a16:creationId xmlns:a16="http://schemas.microsoft.com/office/drawing/2014/main" id="{AC7F0EDB-F80A-4171-8A53-49999BDD7739}"/>
              </a:ext>
            </a:extLst>
          </p:cNvPr>
          <p:cNvSpPr txBox="1">
            <a:spLocks/>
          </p:cNvSpPr>
          <p:nvPr userDrawn="1"/>
        </p:nvSpPr>
        <p:spPr>
          <a:xfrm>
            <a:off x="2137197" y="5713460"/>
            <a:ext cx="2220665" cy="324000"/>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00" kern="1200" dirty="0">
                <a:solidFill>
                  <a:schemeClr val="tx1"/>
                </a:solidFill>
                <a:latin typeface="+mn-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00" b="0" i="0" u="none" strike="noStrike" kern="1200" cap="none" spc="0" normalizeH="0" baseline="0" noProof="0">
              <a:ln>
                <a:noFill/>
              </a:ln>
              <a:solidFill>
                <a:srgbClr val="282828"/>
              </a:solidFill>
              <a:effectLst/>
              <a:uLnTx/>
              <a:uFillTx/>
              <a:latin typeface="+mn-lt"/>
              <a:ea typeface="+mn-ea"/>
              <a:cs typeface="+mn-cs"/>
            </a:endParaRPr>
          </a:p>
        </p:txBody>
      </p:sp>
      <p:sp>
        <p:nvSpPr>
          <p:cNvPr id="69" name="Text Placeholder 15">
            <a:extLst>
              <a:ext uri="{FF2B5EF4-FFF2-40B4-BE49-F238E27FC236}">
                <a16:creationId xmlns:a16="http://schemas.microsoft.com/office/drawing/2014/main" id="{FB30315B-28AA-4B59-9F7D-883CE29512F1}"/>
              </a:ext>
            </a:extLst>
          </p:cNvPr>
          <p:cNvSpPr txBox="1">
            <a:spLocks/>
          </p:cNvSpPr>
          <p:nvPr userDrawn="1"/>
        </p:nvSpPr>
        <p:spPr>
          <a:xfrm>
            <a:off x="4985668" y="5514143"/>
            <a:ext cx="2220665" cy="183600"/>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200" b="1" i="0" u="none" strike="noStrike" kern="1200" cap="none" spc="0" normalizeH="0" baseline="0" noProof="0">
              <a:ln>
                <a:noFill/>
              </a:ln>
              <a:solidFill>
                <a:srgbClr val="282828"/>
              </a:solidFill>
              <a:effectLst/>
              <a:uLnTx/>
              <a:uFillTx/>
              <a:latin typeface="+mn-lt"/>
              <a:ea typeface="+mn-ea"/>
              <a:cs typeface="+mn-cs"/>
            </a:endParaRPr>
          </a:p>
        </p:txBody>
      </p:sp>
      <p:sp>
        <p:nvSpPr>
          <p:cNvPr id="70" name="Text Placeholder 15">
            <a:extLst>
              <a:ext uri="{FF2B5EF4-FFF2-40B4-BE49-F238E27FC236}">
                <a16:creationId xmlns:a16="http://schemas.microsoft.com/office/drawing/2014/main" id="{76290CB3-EB59-45AA-8F4E-E059C3654F1B}"/>
              </a:ext>
            </a:extLst>
          </p:cNvPr>
          <p:cNvSpPr txBox="1">
            <a:spLocks/>
          </p:cNvSpPr>
          <p:nvPr userDrawn="1"/>
        </p:nvSpPr>
        <p:spPr>
          <a:xfrm>
            <a:off x="4985668" y="5713460"/>
            <a:ext cx="2220665" cy="324000"/>
          </a:xfrm>
          <a:prstGeom prst="rect">
            <a:avLst/>
          </a:prstGeom>
        </p:spPr>
        <p:txBody>
          <a:bodyPr vert="horz" lIns="0" tIns="0" rIns="0" bIns="0" rtlCol="0" anchor="ctr">
            <a:noAutofit/>
          </a:bodyPr>
          <a:lstStyle>
            <a:lvl1pPr marL="0" indent="0" algn="ctr" defTabSz="914400" rtl="0" eaLnBrk="1" latinLnBrk="0" hangingPunct="1">
              <a:lnSpc>
                <a:spcPct val="90000"/>
              </a:lnSpc>
              <a:spcBef>
                <a:spcPts val="1000"/>
              </a:spcBef>
              <a:buClr>
                <a:schemeClr val="accent1"/>
              </a:buClr>
              <a:buSzPct val="90000"/>
              <a:buFont typeface="Wingdings" panose="05000000000000000000" pitchFamily="2" charset="2"/>
              <a:buNone/>
              <a:defRPr lang="en-US" sz="1000" kern="1200" dirty="0">
                <a:solidFill>
                  <a:schemeClr val="tx1"/>
                </a:solidFill>
                <a:latin typeface="+mn-lt"/>
                <a:ea typeface="+mn-ea"/>
                <a:cs typeface="+mn-cs"/>
              </a:defRPr>
            </a:lvl1pPr>
            <a:lvl2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2pPr>
            <a:lvl3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3pPr>
            <a:lvl4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smtClean="0">
                <a:solidFill>
                  <a:schemeClr val="tx1"/>
                </a:solidFill>
                <a:latin typeface="+mj-lt"/>
                <a:ea typeface="+mn-ea"/>
                <a:cs typeface="+mn-cs"/>
              </a:defRPr>
            </a:lvl4pPr>
            <a:lvl5pPr marL="0" indent="0" algn="ctr" defTabSz="914400" rtl="0" eaLnBrk="1" latinLnBrk="0" hangingPunct="1">
              <a:lnSpc>
                <a:spcPct val="90000"/>
              </a:lnSpc>
              <a:spcBef>
                <a:spcPts val="500"/>
              </a:spcBef>
              <a:buClr>
                <a:schemeClr val="accent1"/>
              </a:buClr>
              <a:buSzPct val="90000"/>
              <a:buFont typeface="Wingdings" panose="05000000000000000000" pitchFamily="2" charset="2"/>
              <a:buNone/>
              <a:defRPr lang="en-US" sz="1200" b="1" kern="1200" dirty="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CC00"/>
              </a:buClr>
              <a:buSzPct val="90000"/>
              <a:buFont typeface="Wingdings" panose="05000000000000000000" pitchFamily="2" charset="2"/>
              <a:buNone/>
              <a:tabLst/>
              <a:defRPr/>
            </a:pPr>
            <a:endParaRPr kumimoji="0" lang="zh-TW" altLang="en-US" sz="1000" b="0" i="0" u="none" strike="noStrike" kern="1200" cap="none" spc="0" normalizeH="0" baseline="0" noProof="0">
              <a:ln>
                <a:noFill/>
              </a:ln>
              <a:solidFill>
                <a:srgbClr val="282828"/>
              </a:solidFill>
              <a:effectLst/>
              <a:uLnTx/>
              <a:uFillTx/>
              <a:latin typeface="+mn-lt"/>
              <a:ea typeface="+mn-ea"/>
              <a:cs typeface="+mn-cs"/>
            </a:endParaRPr>
          </a:p>
        </p:txBody>
      </p:sp>
      <p:sp>
        <p:nvSpPr>
          <p:cNvPr id="71" name="Freeform 11">
            <a:extLst>
              <a:ext uri="{FF2B5EF4-FFF2-40B4-BE49-F238E27FC236}">
                <a16:creationId xmlns:a16="http://schemas.microsoft.com/office/drawing/2014/main" id="{AF00B980-DEA4-48AE-9E55-924EEBEC9BC2}"/>
              </a:ext>
            </a:extLst>
          </p:cNvPr>
          <p:cNvSpPr>
            <a:spLocks/>
          </p:cNvSpPr>
          <p:nvPr userDrawn="1"/>
        </p:nvSpPr>
        <p:spPr bwMode="auto">
          <a:xfrm>
            <a:off x="2359428" y="3969347"/>
            <a:ext cx="1776203" cy="1163087"/>
          </a:xfrm>
          <a:custGeom>
            <a:avLst/>
            <a:gdLst>
              <a:gd name="T0" fmla="*/ 304 w 366"/>
              <a:gd name="T1" fmla="*/ 19 h 239"/>
              <a:gd name="T2" fmla="*/ 309 w 366"/>
              <a:gd name="T3" fmla="*/ 57 h 239"/>
              <a:gd name="T4" fmla="*/ 183 w 366"/>
              <a:gd name="T5" fmla="*/ 183 h 239"/>
              <a:gd name="T6" fmla="*/ 57 w 366"/>
              <a:gd name="T7" fmla="*/ 57 h 239"/>
              <a:gd name="T8" fmla="*/ 63 w 366"/>
              <a:gd name="T9" fmla="*/ 19 h 239"/>
              <a:gd name="T10" fmla="*/ 9 w 366"/>
              <a:gd name="T11" fmla="*/ 2 h 239"/>
              <a:gd name="T12" fmla="*/ 0 w 366"/>
              <a:gd name="T13" fmla="*/ 57 h 239"/>
              <a:gd name="T14" fmla="*/ 183 w 366"/>
              <a:gd name="T15" fmla="*/ 239 h 239"/>
              <a:gd name="T16" fmla="*/ 366 w 366"/>
              <a:gd name="T17" fmla="*/ 57 h 239"/>
              <a:gd name="T18" fmla="*/ 357 w 366"/>
              <a:gd name="T19" fmla="*/ 0 h 239"/>
              <a:gd name="T20" fmla="*/ 304 w 366"/>
              <a:gd name="T21" fmla="*/ 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239">
                <a:moveTo>
                  <a:pt x="304" y="19"/>
                </a:moveTo>
                <a:cubicBezTo>
                  <a:pt x="307" y="31"/>
                  <a:pt x="309" y="44"/>
                  <a:pt x="309" y="57"/>
                </a:cubicBezTo>
                <a:cubicBezTo>
                  <a:pt x="309" y="126"/>
                  <a:pt x="253" y="183"/>
                  <a:pt x="183" y="183"/>
                </a:cubicBezTo>
                <a:cubicBezTo>
                  <a:pt x="113" y="183"/>
                  <a:pt x="57" y="126"/>
                  <a:pt x="57" y="57"/>
                </a:cubicBezTo>
                <a:cubicBezTo>
                  <a:pt x="57" y="44"/>
                  <a:pt x="59" y="31"/>
                  <a:pt x="63" y="19"/>
                </a:cubicBezTo>
                <a:cubicBezTo>
                  <a:pt x="9" y="2"/>
                  <a:pt x="9" y="2"/>
                  <a:pt x="9" y="2"/>
                </a:cubicBezTo>
                <a:cubicBezTo>
                  <a:pt x="3" y="19"/>
                  <a:pt x="0" y="37"/>
                  <a:pt x="0" y="57"/>
                </a:cubicBezTo>
                <a:cubicBezTo>
                  <a:pt x="0" y="157"/>
                  <a:pt x="82" y="239"/>
                  <a:pt x="183" y="239"/>
                </a:cubicBezTo>
                <a:cubicBezTo>
                  <a:pt x="284" y="239"/>
                  <a:pt x="366" y="157"/>
                  <a:pt x="366" y="57"/>
                </a:cubicBezTo>
                <a:cubicBezTo>
                  <a:pt x="366" y="37"/>
                  <a:pt x="363" y="18"/>
                  <a:pt x="357" y="0"/>
                </a:cubicBezTo>
                <a:lnTo>
                  <a:pt x="304" y="19"/>
                </a:lnTo>
                <a:close/>
              </a:path>
            </a:pathLst>
          </a:custGeom>
          <a:solidFill>
            <a:srgbClr val="282828"/>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mn-lt"/>
            </a:endParaRPr>
          </a:p>
        </p:txBody>
      </p:sp>
      <p:sp>
        <p:nvSpPr>
          <p:cNvPr id="72" name="Freeform 11">
            <a:extLst>
              <a:ext uri="{FF2B5EF4-FFF2-40B4-BE49-F238E27FC236}">
                <a16:creationId xmlns:a16="http://schemas.microsoft.com/office/drawing/2014/main" id="{BE97249D-E087-44F1-85C7-B65D930AAB15}"/>
              </a:ext>
            </a:extLst>
          </p:cNvPr>
          <p:cNvSpPr>
            <a:spLocks/>
          </p:cNvSpPr>
          <p:nvPr userDrawn="1"/>
        </p:nvSpPr>
        <p:spPr bwMode="auto">
          <a:xfrm flipV="1">
            <a:off x="3783663" y="2542255"/>
            <a:ext cx="1776203" cy="1163087"/>
          </a:xfrm>
          <a:custGeom>
            <a:avLst/>
            <a:gdLst>
              <a:gd name="T0" fmla="*/ 304 w 366"/>
              <a:gd name="T1" fmla="*/ 19 h 239"/>
              <a:gd name="T2" fmla="*/ 309 w 366"/>
              <a:gd name="T3" fmla="*/ 57 h 239"/>
              <a:gd name="T4" fmla="*/ 183 w 366"/>
              <a:gd name="T5" fmla="*/ 183 h 239"/>
              <a:gd name="T6" fmla="*/ 57 w 366"/>
              <a:gd name="T7" fmla="*/ 57 h 239"/>
              <a:gd name="T8" fmla="*/ 63 w 366"/>
              <a:gd name="T9" fmla="*/ 19 h 239"/>
              <a:gd name="T10" fmla="*/ 9 w 366"/>
              <a:gd name="T11" fmla="*/ 2 h 239"/>
              <a:gd name="T12" fmla="*/ 0 w 366"/>
              <a:gd name="T13" fmla="*/ 57 h 239"/>
              <a:gd name="T14" fmla="*/ 183 w 366"/>
              <a:gd name="T15" fmla="*/ 239 h 239"/>
              <a:gd name="T16" fmla="*/ 366 w 366"/>
              <a:gd name="T17" fmla="*/ 57 h 239"/>
              <a:gd name="T18" fmla="*/ 357 w 366"/>
              <a:gd name="T19" fmla="*/ 0 h 239"/>
              <a:gd name="T20" fmla="*/ 304 w 366"/>
              <a:gd name="T21" fmla="*/ 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239">
                <a:moveTo>
                  <a:pt x="304" y="19"/>
                </a:moveTo>
                <a:cubicBezTo>
                  <a:pt x="307" y="31"/>
                  <a:pt x="309" y="44"/>
                  <a:pt x="309" y="57"/>
                </a:cubicBezTo>
                <a:cubicBezTo>
                  <a:pt x="309" y="126"/>
                  <a:pt x="253" y="183"/>
                  <a:pt x="183" y="183"/>
                </a:cubicBezTo>
                <a:cubicBezTo>
                  <a:pt x="113" y="183"/>
                  <a:pt x="57" y="126"/>
                  <a:pt x="57" y="57"/>
                </a:cubicBezTo>
                <a:cubicBezTo>
                  <a:pt x="57" y="44"/>
                  <a:pt x="59" y="31"/>
                  <a:pt x="63" y="19"/>
                </a:cubicBezTo>
                <a:cubicBezTo>
                  <a:pt x="9" y="2"/>
                  <a:pt x="9" y="2"/>
                  <a:pt x="9" y="2"/>
                </a:cubicBezTo>
                <a:cubicBezTo>
                  <a:pt x="3" y="19"/>
                  <a:pt x="0" y="37"/>
                  <a:pt x="0" y="57"/>
                </a:cubicBezTo>
                <a:cubicBezTo>
                  <a:pt x="0" y="157"/>
                  <a:pt x="82" y="239"/>
                  <a:pt x="183" y="239"/>
                </a:cubicBezTo>
                <a:cubicBezTo>
                  <a:pt x="284" y="239"/>
                  <a:pt x="366" y="157"/>
                  <a:pt x="366" y="57"/>
                </a:cubicBezTo>
                <a:cubicBezTo>
                  <a:pt x="366" y="37"/>
                  <a:pt x="363" y="18"/>
                  <a:pt x="357" y="0"/>
                </a:cubicBezTo>
                <a:lnTo>
                  <a:pt x="304" y="19"/>
                </a:lnTo>
                <a:close/>
              </a:path>
            </a:pathLst>
          </a:custGeom>
          <a:solidFill>
            <a:srgbClr val="282828"/>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mn-lt"/>
            </a:endParaRPr>
          </a:p>
        </p:txBody>
      </p:sp>
      <p:sp>
        <p:nvSpPr>
          <p:cNvPr id="73" name="Freeform 11">
            <a:extLst>
              <a:ext uri="{FF2B5EF4-FFF2-40B4-BE49-F238E27FC236}">
                <a16:creationId xmlns:a16="http://schemas.microsoft.com/office/drawing/2014/main" id="{CE5D331B-4C57-4793-B4CE-DBE0B2B88AF3}"/>
              </a:ext>
            </a:extLst>
          </p:cNvPr>
          <p:cNvSpPr>
            <a:spLocks/>
          </p:cNvSpPr>
          <p:nvPr userDrawn="1"/>
        </p:nvSpPr>
        <p:spPr bwMode="auto">
          <a:xfrm>
            <a:off x="5207899" y="3969347"/>
            <a:ext cx="1776203" cy="1163087"/>
          </a:xfrm>
          <a:custGeom>
            <a:avLst/>
            <a:gdLst>
              <a:gd name="T0" fmla="*/ 304 w 366"/>
              <a:gd name="T1" fmla="*/ 19 h 239"/>
              <a:gd name="T2" fmla="*/ 309 w 366"/>
              <a:gd name="T3" fmla="*/ 57 h 239"/>
              <a:gd name="T4" fmla="*/ 183 w 366"/>
              <a:gd name="T5" fmla="*/ 183 h 239"/>
              <a:gd name="T6" fmla="*/ 57 w 366"/>
              <a:gd name="T7" fmla="*/ 57 h 239"/>
              <a:gd name="T8" fmla="*/ 63 w 366"/>
              <a:gd name="T9" fmla="*/ 19 h 239"/>
              <a:gd name="T10" fmla="*/ 9 w 366"/>
              <a:gd name="T11" fmla="*/ 2 h 239"/>
              <a:gd name="T12" fmla="*/ 0 w 366"/>
              <a:gd name="T13" fmla="*/ 57 h 239"/>
              <a:gd name="T14" fmla="*/ 183 w 366"/>
              <a:gd name="T15" fmla="*/ 239 h 239"/>
              <a:gd name="T16" fmla="*/ 366 w 366"/>
              <a:gd name="T17" fmla="*/ 57 h 239"/>
              <a:gd name="T18" fmla="*/ 357 w 366"/>
              <a:gd name="T19" fmla="*/ 0 h 239"/>
              <a:gd name="T20" fmla="*/ 304 w 366"/>
              <a:gd name="T21" fmla="*/ 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239">
                <a:moveTo>
                  <a:pt x="304" y="19"/>
                </a:moveTo>
                <a:cubicBezTo>
                  <a:pt x="307" y="31"/>
                  <a:pt x="309" y="44"/>
                  <a:pt x="309" y="57"/>
                </a:cubicBezTo>
                <a:cubicBezTo>
                  <a:pt x="309" y="126"/>
                  <a:pt x="253" y="183"/>
                  <a:pt x="183" y="183"/>
                </a:cubicBezTo>
                <a:cubicBezTo>
                  <a:pt x="113" y="183"/>
                  <a:pt x="57" y="126"/>
                  <a:pt x="57" y="57"/>
                </a:cubicBezTo>
                <a:cubicBezTo>
                  <a:pt x="57" y="44"/>
                  <a:pt x="59" y="31"/>
                  <a:pt x="63" y="19"/>
                </a:cubicBezTo>
                <a:cubicBezTo>
                  <a:pt x="9" y="2"/>
                  <a:pt x="9" y="2"/>
                  <a:pt x="9" y="2"/>
                </a:cubicBezTo>
                <a:cubicBezTo>
                  <a:pt x="3" y="19"/>
                  <a:pt x="0" y="37"/>
                  <a:pt x="0" y="57"/>
                </a:cubicBezTo>
                <a:cubicBezTo>
                  <a:pt x="0" y="157"/>
                  <a:pt x="82" y="239"/>
                  <a:pt x="183" y="239"/>
                </a:cubicBezTo>
                <a:cubicBezTo>
                  <a:pt x="284" y="239"/>
                  <a:pt x="366" y="157"/>
                  <a:pt x="366" y="57"/>
                </a:cubicBezTo>
                <a:cubicBezTo>
                  <a:pt x="366" y="37"/>
                  <a:pt x="363" y="18"/>
                  <a:pt x="357" y="0"/>
                </a:cubicBezTo>
                <a:lnTo>
                  <a:pt x="304" y="19"/>
                </a:lnTo>
                <a:close/>
              </a:path>
            </a:pathLst>
          </a:custGeom>
          <a:solidFill>
            <a:srgbClr val="282828"/>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mn-lt"/>
            </a:endParaRPr>
          </a:p>
        </p:txBody>
      </p:sp>
      <p:sp>
        <p:nvSpPr>
          <p:cNvPr id="74" name="Freeform 11">
            <a:extLst>
              <a:ext uri="{FF2B5EF4-FFF2-40B4-BE49-F238E27FC236}">
                <a16:creationId xmlns:a16="http://schemas.microsoft.com/office/drawing/2014/main" id="{97FCDE67-FF82-4672-8F4C-A95075E3FE9F}"/>
              </a:ext>
            </a:extLst>
          </p:cNvPr>
          <p:cNvSpPr>
            <a:spLocks/>
          </p:cNvSpPr>
          <p:nvPr userDrawn="1"/>
        </p:nvSpPr>
        <p:spPr bwMode="auto">
          <a:xfrm flipV="1">
            <a:off x="6632134" y="2542255"/>
            <a:ext cx="1776203" cy="1163087"/>
          </a:xfrm>
          <a:custGeom>
            <a:avLst/>
            <a:gdLst>
              <a:gd name="T0" fmla="*/ 304 w 366"/>
              <a:gd name="T1" fmla="*/ 19 h 239"/>
              <a:gd name="T2" fmla="*/ 309 w 366"/>
              <a:gd name="T3" fmla="*/ 57 h 239"/>
              <a:gd name="T4" fmla="*/ 183 w 366"/>
              <a:gd name="T5" fmla="*/ 183 h 239"/>
              <a:gd name="T6" fmla="*/ 57 w 366"/>
              <a:gd name="T7" fmla="*/ 57 h 239"/>
              <a:gd name="T8" fmla="*/ 63 w 366"/>
              <a:gd name="T9" fmla="*/ 19 h 239"/>
              <a:gd name="T10" fmla="*/ 9 w 366"/>
              <a:gd name="T11" fmla="*/ 2 h 239"/>
              <a:gd name="T12" fmla="*/ 0 w 366"/>
              <a:gd name="T13" fmla="*/ 57 h 239"/>
              <a:gd name="T14" fmla="*/ 183 w 366"/>
              <a:gd name="T15" fmla="*/ 239 h 239"/>
              <a:gd name="T16" fmla="*/ 366 w 366"/>
              <a:gd name="T17" fmla="*/ 57 h 239"/>
              <a:gd name="T18" fmla="*/ 357 w 366"/>
              <a:gd name="T19" fmla="*/ 0 h 239"/>
              <a:gd name="T20" fmla="*/ 304 w 366"/>
              <a:gd name="T21" fmla="*/ 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239">
                <a:moveTo>
                  <a:pt x="304" y="19"/>
                </a:moveTo>
                <a:cubicBezTo>
                  <a:pt x="307" y="31"/>
                  <a:pt x="309" y="44"/>
                  <a:pt x="309" y="57"/>
                </a:cubicBezTo>
                <a:cubicBezTo>
                  <a:pt x="309" y="126"/>
                  <a:pt x="253" y="183"/>
                  <a:pt x="183" y="183"/>
                </a:cubicBezTo>
                <a:cubicBezTo>
                  <a:pt x="113" y="183"/>
                  <a:pt x="57" y="126"/>
                  <a:pt x="57" y="57"/>
                </a:cubicBezTo>
                <a:cubicBezTo>
                  <a:pt x="57" y="44"/>
                  <a:pt x="59" y="31"/>
                  <a:pt x="63" y="19"/>
                </a:cubicBezTo>
                <a:cubicBezTo>
                  <a:pt x="9" y="2"/>
                  <a:pt x="9" y="2"/>
                  <a:pt x="9" y="2"/>
                </a:cubicBezTo>
                <a:cubicBezTo>
                  <a:pt x="3" y="19"/>
                  <a:pt x="0" y="37"/>
                  <a:pt x="0" y="57"/>
                </a:cubicBezTo>
                <a:cubicBezTo>
                  <a:pt x="0" y="157"/>
                  <a:pt x="82" y="239"/>
                  <a:pt x="183" y="239"/>
                </a:cubicBezTo>
                <a:cubicBezTo>
                  <a:pt x="284" y="239"/>
                  <a:pt x="366" y="157"/>
                  <a:pt x="366" y="57"/>
                </a:cubicBezTo>
                <a:cubicBezTo>
                  <a:pt x="366" y="37"/>
                  <a:pt x="363" y="18"/>
                  <a:pt x="357" y="0"/>
                </a:cubicBezTo>
                <a:lnTo>
                  <a:pt x="304" y="19"/>
                </a:lnTo>
                <a:close/>
              </a:path>
            </a:pathLst>
          </a:custGeom>
          <a:solidFill>
            <a:srgbClr val="282828"/>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mn-lt"/>
            </a:endParaRPr>
          </a:p>
        </p:txBody>
      </p:sp>
      <p:sp>
        <p:nvSpPr>
          <p:cNvPr id="75" name="Freeform 11">
            <a:extLst>
              <a:ext uri="{FF2B5EF4-FFF2-40B4-BE49-F238E27FC236}">
                <a16:creationId xmlns:a16="http://schemas.microsoft.com/office/drawing/2014/main" id="{000840AF-40F3-4721-B3BE-9D9AB3680FB4}"/>
              </a:ext>
            </a:extLst>
          </p:cNvPr>
          <p:cNvSpPr>
            <a:spLocks/>
          </p:cNvSpPr>
          <p:nvPr userDrawn="1"/>
        </p:nvSpPr>
        <p:spPr bwMode="auto">
          <a:xfrm>
            <a:off x="8056370" y="3969347"/>
            <a:ext cx="1776203" cy="1163087"/>
          </a:xfrm>
          <a:custGeom>
            <a:avLst/>
            <a:gdLst>
              <a:gd name="T0" fmla="*/ 304 w 366"/>
              <a:gd name="T1" fmla="*/ 19 h 239"/>
              <a:gd name="T2" fmla="*/ 309 w 366"/>
              <a:gd name="T3" fmla="*/ 57 h 239"/>
              <a:gd name="T4" fmla="*/ 183 w 366"/>
              <a:gd name="T5" fmla="*/ 183 h 239"/>
              <a:gd name="T6" fmla="*/ 57 w 366"/>
              <a:gd name="T7" fmla="*/ 57 h 239"/>
              <a:gd name="T8" fmla="*/ 63 w 366"/>
              <a:gd name="T9" fmla="*/ 19 h 239"/>
              <a:gd name="T10" fmla="*/ 9 w 366"/>
              <a:gd name="T11" fmla="*/ 2 h 239"/>
              <a:gd name="T12" fmla="*/ 0 w 366"/>
              <a:gd name="T13" fmla="*/ 57 h 239"/>
              <a:gd name="T14" fmla="*/ 183 w 366"/>
              <a:gd name="T15" fmla="*/ 239 h 239"/>
              <a:gd name="T16" fmla="*/ 366 w 366"/>
              <a:gd name="T17" fmla="*/ 57 h 239"/>
              <a:gd name="T18" fmla="*/ 357 w 366"/>
              <a:gd name="T19" fmla="*/ 0 h 239"/>
              <a:gd name="T20" fmla="*/ 304 w 366"/>
              <a:gd name="T21" fmla="*/ 1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239">
                <a:moveTo>
                  <a:pt x="304" y="19"/>
                </a:moveTo>
                <a:cubicBezTo>
                  <a:pt x="307" y="31"/>
                  <a:pt x="309" y="44"/>
                  <a:pt x="309" y="57"/>
                </a:cubicBezTo>
                <a:cubicBezTo>
                  <a:pt x="309" y="126"/>
                  <a:pt x="253" y="183"/>
                  <a:pt x="183" y="183"/>
                </a:cubicBezTo>
                <a:cubicBezTo>
                  <a:pt x="113" y="183"/>
                  <a:pt x="57" y="126"/>
                  <a:pt x="57" y="57"/>
                </a:cubicBezTo>
                <a:cubicBezTo>
                  <a:pt x="57" y="44"/>
                  <a:pt x="59" y="31"/>
                  <a:pt x="63" y="19"/>
                </a:cubicBezTo>
                <a:cubicBezTo>
                  <a:pt x="9" y="2"/>
                  <a:pt x="9" y="2"/>
                  <a:pt x="9" y="2"/>
                </a:cubicBezTo>
                <a:cubicBezTo>
                  <a:pt x="3" y="19"/>
                  <a:pt x="0" y="37"/>
                  <a:pt x="0" y="57"/>
                </a:cubicBezTo>
                <a:cubicBezTo>
                  <a:pt x="0" y="157"/>
                  <a:pt x="82" y="239"/>
                  <a:pt x="183" y="239"/>
                </a:cubicBezTo>
                <a:cubicBezTo>
                  <a:pt x="284" y="239"/>
                  <a:pt x="366" y="157"/>
                  <a:pt x="366" y="57"/>
                </a:cubicBezTo>
                <a:cubicBezTo>
                  <a:pt x="366" y="37"/>
                  <a:pt x="363" y="18"/>
                  <a:pt x="357" y="0"/>
                </a:cubicBezTo>
                <a:lnTo>
                  <a:pt x="304" y="19"/>
                </a:lnTo>
                <a:close/>
              </a:path>
            </a:pathLst>
          </a:custGeom>
          <a:solidFill>
            <a:srgbClr val="000000"/>
          </a:solidFill>
          <a:ln w="4763"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mn-lt"/>
            </a:endParaRPr>
          </a:p>
        </p:txBody>
      </p:sp>
      <p:cxnSp>
        <p:nvCxnSpPr>
          <p:cNvPr id="76" name="Straight Connector 30">
            <a:extLst>
              <a:ext uri="{FF2B5EF4-FFF2-40B4-BE49-F238E27FC236}">
                <a16:creationId xmlns:a16="http://schemas.microsoft.com/office/drawing/2014/main" id="{28A4A5D5-B5C3-4B02-BB0B-3C4A7A0AFB46}"/>
              </a:ext>
            </a:extLst>
          </p:cNvPr>
          <p:cNvCxnSpPr/>
          <p:nvPr userDrawn="1"/>
        </p:nvCxnSpPr>
        <p:spPr>
          <a:xfrm flipV="1">
            <a:off x="3247529" y="5132434"/>
            <a:ext cx="0" cy="271043"/>
          </a:xfrm>
          <a:prstGeom prst="line">
            <a:avLst/>
          </a:prstGeom>
          <a:noFill/>
          <a:ln w="12700" cap="flat" cmpd="sng" algn="ctr">
            <a:solidFill>
              <a:srgbClr val="282828"/>
            </a:solidFill>
            <a:prstDash val="solid"/>
            <a:miter lim="800000"/>
            <a:headEnd type="oval"/>
            <a:tailEnd type="none"/>
          </a:ln>
          <a:effectLst/>
        </p:spPr>
      </p:cxnSp>
      <p:cxnSp>
        <p:nvCxnSpPr>
          <p:cNvPr id="77" name="Straight Connector 31">
            <a:extLst>
              <a:ext uri="{FF2B5EF4-FFF2-40B4-BE49-F238E27FC236}">
                <a16:creationId xmlns:a16="http://schemas.microsoft.com/office/drawing/2014/main" id="{7179B868-114C-45D6-B452-B205065E9AFF}"/>
              </a:ext>
            </a:extLst>
          </p:cNvPr>
          <p:cNvCxnSpPr/>
          <p:nvPr userDrawn="1"/>
        </p:nvCxnSpPr>
        <p:spPr>
          <a:xfrm flipV="1">
            <a:off x="6096000" y="5132434"/>
            <a:ext cx="0" cy="271043"/>
          </a:xfrm>
          <a:prstGeom prst="line">
            <a:avLst/>
          </a:prstGeom>
          <a:noFill/>
          <a:ln w="12700" cap="flat" cmpd="sng" algn="ctr">
            <a:solidFill>
              <a:srgbClr val="282828"/>
            </a:solidFill>
            <a:prstDash val="solid"/>
            <a:miter lim="800000"/>
            <a:headEnd type="oval"/>
            <a:tailEnd type="none"/>
          </a:ln>
          <a:effectLst/>
        </p:spPr>
      </p:cxnSp>
      <p:cxnSp>
        <p:nvCxnSpPr>
          <p:cNvPr id="78" name="Straight Connector 32">
            <a:extLst>
              <a:ext uri="{FF2B5EF4-FFF2-40B4-BE49-F238E27FC236}">
                <a16:creationId xmlns:a16="http://schemas.microsoft.com/office/drawing/2014/main" id="{48F544BE-C0BE-49A0-BCCD-9D2442B6FB0D}"/>
              </a:ext>
            </a:extLst>
          </p:cNvPr>
          <p:cNvCxnSpPr/>
          <p:nvPr userDrawn="1"/>
        </p:nvCxnSpPr>
        <p:spPr>
          <a:xfrm flipV="1">
            <a:off x="8944471" y="5132434"/>
            <a:ext cx="0" cy="271043"/>
          </a:xfrm>
          <a:prstGeom prst="line">
            <a:avLst/>
          </a:prstGeom>
          <a:noFill/>
          <a:ln w="12700" cap="flat" cmpd="sng" algn="ctr">
            <a:solidFill>
              <a:srgbClr val="282828"/>
            </a:solidFill>
            <a:prstDash val="solid"/>
            <a:miter lim="800000"/>
            <a:headEnd type="oval"/>
            <a:tailEnd type="none"/>
          </a:ln>
          <a:effectLst/>
        </p:spPr>
      </p:cxnSp>
      <p:cxnSp>
        <p:nvCxnSpPr>
          <p:cNvPr id="79" name="Straight Connector 33">
            <a:extLst>
              <a:ext uri="{FF2B5EF4-FFF2-40B4-BE49-F238E27FC236}">
                <a16:creationId xmlns:a16="http://schemas.microsoft.com/office/drawing/2014/main" id="{78827FA4-7BF7-44A8-8C98-FB1C8CB46126}"/>
              </a:ext>
            </a:extLst>
          </p:cNvPr>
          <p:cNvCxnSpPr/>
          <p:nvPr userDrawn="1"/>
        </p:nvCxnSpPr>
        <p:spPr>
          <a:xfrm>
            <a:off x="4671764" y="2269806"/>
            <a:ext cx="0" cy="271043"/>
          </a:xfrm>
          <a:prstGeom prst="line">
            <a:avLst/>
          </a:prstGeom>
          <a:noFill/>
          <a:ln w="12700" cap="flat" cmpd="sng" algn="ctr">
            <a:solidFill>
              <a:srgbClr val="282828"/>
            </a:solidFill>
            <a:prstDash val="solid"/>
            <a:miter lim="800000"/>
            <a:headEnd type="oval"/>
            <a:tailEnd type="none"/>
          </a:ln>
          <a:effectLst/>
        </p:spPr>
      </p:cxnSp>
      <p:cxnSp>
        <p:nvCxnSpPr>
          <p:cNvPr id="80" name="Straight Connector 34">
            <a:extLst>
              <a:ext uri="{FF2B5EF4-FFF2-40B4-BE49-F238E27FC236}">
                <a16:creationId xmlns:a16="http://schemas.microsoft.com/office/drawing/2014/main" id="{A2D409C5-31D5-459B-8EAE-F50296400562}"/>
              </a:ext>
            </a:extLst>
          </p:cNvPr>
          <p:cNvCxnSpPr/>
          <p:nvPr userDrawn="1"/>
        </p:nvCxnSpPr>
        <p:spPr>
          <a:xfrm>
            <a:off x="7520235" y="2269806"/>
            <a:ext cx="0" cy="271043"/>
          </a:xfrm>
          <a:prstGeom prst="line">
            <a:avLst/>
          </a:prstGeom>
          <a:noFill/>
          <a:ln w="12700" cap="flat" cmpd="sng" algn="ctr">
            <a:solidFill>
              <a:srgbClr val="282828"/>
            </a:solidFill>
            <a:prstDash val="solid"/>
            <a:miter lim="800000"/>
            <a:headEnd type="oval"/>
            <a:tailEnd type="none"/>
          </a:ln>
          <a:effectLst/>
        </p:spPr>
      </p:cxnSp>
      <p:sp>
        <p:nvSpPr>
          <p:cNvPr id="60" name="Title 1">
            <a:extLst>
              <a:ext uri="{FF2B5EF4-FFF2-40B4-BE49-F238E27FC236}">
                <a16:creationId xmlns:a16="http://schemas.microsoft.com/office/drawing/2014/main" id="{132393F5-9BB9-4B10-8A44-6C7B4F7E906F}"/>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81" name="Text Placeholder 5">
            <a:extLst>
              <a:ext uri="{FF2B5EF4-FFF2-40B4-BE49-F238E27FC236}">
                <a16:creationId xmlns:a16="http://schemas.microsoft.com/office/drawing/2014/main" id="{E840A826-9E82-40F0-948B-ABE7986D81D2}"/>
              </a:ext>
            </a:extLst>
          </p:cNvPr>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
        <p:nvSpPr>
          <p:cNvPr id="82" name="Slide Number Placeholder 4">
            <a:extLst>
              <a:ext uri="{FF2B5EF4-FFF2-40B4-BE49-F238E27FC236}">
                <a16:creationId xmlns:a16="http://schemas.microsoft.com/office/drawing/2014/main" id="{E376AA58-C4AB-4456-A080-0B1291F33955}"/>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Tree>
    <p:extLst>
      <p:ext uri="{BB962C8B-B14F-4D97-AF65-F5344CB8AC3E}">
        <p14:creationId xmlns:p14="http://schemas.microsoft.com/office/powerpoint/2010/main" val="24873192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 subtitle">
    <p:spTree>
      <p:nvGrpSpPr>
        <p:cNvPr id="1" name=""/>
        <p:cNvGrpSpPr/>
        <p:nvPr/>
      </p:nvGrpSpPr>
      <p:grpSpPr>
        <a:xfrm>
          <a:off x="0" y="0"/>
          <a:ext cx="0" cy="0"/>
          <a:chOff x="0" y="0"/>
          <a:chExt cx="0" cy="0"/>
        </a:xfrm>
      </p:grpSpPr>
      <p:sp>
        <p:nvSpPr>
          <p:cNvPr id="9" name="Slide Number Placeholder 4">
            <a:extLst>
              <a:ext uri="{FF2B5EF4-FFF2-40B4-BE49-F238E27FC236}">
                <a16:creationId xmlns:a16="http://schemas.microsoft.com/office/drawing/2014/main" id="{FA27262A-74A7-AF42-8BDE-BD49B53E6381}"/>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15" name="Chart Placeholder 6">
            <a:extLst>
              <a:ext uri="{FF2B5EF4-FFF2-40B4-BE49-F238E27FC236}">
                <a16:creationId xmlns:a16="http://schemas.microsoft.com/office/drawing/2014/main" id="{A8F34477-EEE1-41BE-82A9-97970A98136A}"/>
              </a:ext>
            </a:extLst>
          </p:cNvPr>
          <p:cNvSpPr>
            <a:spLocks noGrp="1"/>
          </p:cNvSpPr>
          <p:nvPr>
            <p:ph type="chart" sz="quarter" idx="14"/>
          </p:nvPr>
        </p:nvSpPr>
        <p:spPr>
          <a:xfrm>
            <a:off x="669521" y="2004671"/>
            <a:ext cx="10515600" cy="2899210"/>
          </a:xfrm>
        </p:spPr>
        <p:txBody>
          <a:bodyPr>
            <a:normAutofit/>
          </a:bodyPr>
          <a:lstStyle>
            <a:lvl1pPr marL="48600" indent="0" algn="ctr">
              <a:buNone/>
              <a:defRPr sz="1600">
                <a:solidFill>
                  <a:schemeClr val="tx1"/>
                </a:solidFill>
                <a:latin typeface="+mj-lt"/>
              </a:defRPr>
            </a:lvl1pPr>
          </a:lstStyle>
          <a:p>
            <a:endParaRPr lang="en-US"/>
          </a:p>
        </p:txBody>
      </p:sp>
      <p:sp>
        <p:nvSpPr>
          <p:cNvPr id="16" name="Text Placeholder 89">
            <a:extLst>
              <a:ext uri="{FF2B5EF4-FFF2-40B4-BE49-F238E27FC236}">
                <a16:creationId xmlns:a16="http://schemas.microsoft.com/office/drawing/2014/main" id="{101CB432-95CB-42B7-84E6-81B64080ACB2}"/>
              </a:ext>
            </a:extLst>
          </p:cNvPr>
          <p:cNvSpPr>
            <a:spLocks noGrp="1"/>
          </p:cNvSpPr>
          <p:nvPr>
            <p:ph type="body" sz="quarter" idx="17"/>
          </p:nvPr>
        </p:nvSpPr>
        <p:spPr>
          <a:xfrm>
            <a:off x="669521" y="5485092"/>
            <a:ext cx="10515600" cy="764312"/>
          </a:xfrm>
          <a:solidFill>
            <a:schemeClr val="bg1">
              <a:lumMod val="95000"/>
            </a:schemeClr>
          </a:solidFill>
        </p:spPr>
        <p:txBody>
          <a:bodyPr wrap="square" lIns="0" tIns="0" rIns="0" bIns="0">
            <a:spAutoFit/>
          </a:bodyPr>
          <a:lstStyle>
            <a:lvl1pPr marL="0" indent="0">
              <a:buNone/>
              <a:defRPr sz="11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a:p>
            <a:pPr lvl="0"/>
            <a:endParaRPr lang="en-US"/>
          </a:p>
          <a:p>
            <a:pPr lvl="0"/>
            <a:endParaRPr lang="en-US"/>
          </a:p>
        </p:txBody>
      </p:sp>
      <p:sp>
        <p:nvSpPr>
          <p:cNvPr id="17" name="Text Placeholder 89">
            <a:extLst>
              <a:ext uri="{FF2B5EF4-FFF2-40B4-BE49-F238E27FC236}">
                <a16:creationId xmlns:a16="http://schemas.microsoft.com/office/drawing/2014/main" id="{9B2AD3F9-39F4-45E6-A66E-DAAFCF6DD6CC}"/>
              </a:ext>
            </a:extLst>
          </p:cNvPr>
          <p:cNvSpPr>
            <a:spLocks noGrp="1"/>
          </p:cNvSpPr>
          <p:nvPr>
            <p:ph type="body" sz="quarter" idx="24"/>
          </p:nvPr>
        </p:nvSpPr>
        <p:spPr>
          <a:xfrm>
            <a:off x="669521" y="5225294"/>
            <a:ext cx="10515600" cy="223412"/>
          </a:xfrm>
          <a:solidFill>
            <a:schemeClr val="bg1">
              <a:lumMod val="95000"/>
            </a:schemeClr>
          </a:solidFill>
        </p:spPr>
        <p:txBody>
          <a:bodyPr wrap="square" lIns="0" tIns="0" rIns="0" bIns="0">
            <a:spAutoFit/>
          </a:bodyPr>
          <a:lstStyle>
            <a:lvl1pPr marL="0" indent="0">
              <a:buNone/>
              <a:defRPr sz="14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p:txBody>
      </p:sp>
      <p:sp>
        <p:nvSpPr>
          <p:cNvPr id="8" name="Title 1">
            <a:extLst>
              <a:ext uri="{FF2B5EF4-FFF2-40B4-BE49-F238E27FC236}">
                <a16:creationId xmlns:a16="http://schemas.microsoft.com/office/drawing/2014/main" id="{41E3632F-EFCC-4264-99B6-176D523BC676}"/>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10" name="Text Placeholder 5">
            <a:extLst>
              <a:ext uri="{FF2B5EF4-FFF2-40B4-BE49-F238E27FC236}">
                <a16:creationId xmlns:a16="http://schemas.microsoft.com/office/drawing/2014/main" id="{30A46982-EAEC-45E4-A4E8-F9ED20AB851B}"/>
              </a:ext>
            </a:extLst>
          </p:cNvPr>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39777926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10" name="Slide Number Placeholder 4">
            <a:extLst>
              <a:ext uri="{FF2B5EF4-FFF2-40B4-BE49-F238E27FC236}">
                <a16:creationId xmlns:a16="http://schemas.microsoft.com/office/drawing/2014/main" id="{423858A4-03C7-CE41-8916-C47FD19E2E6A}"/>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7" name="Chart Placeholder 6">
            <a:extLst>
              <a:ext uri="{FF2B5EF4-FFF2-40B4-BE49-F238E27FC236}">
                <a16:creationId xmlns:a16="http://schemas.microsoft.com/office/drawing/2014/main" id="{591D7DDE-0395-4E15-A460-074A849B1AC6}"/>
              </a:ext>
            </a:extLst>
          </p:cNvPr>
          <p:cNvSpPr>
            <a:spLocks noGrp="1"/>
          </p:cNvSpPr>
          <p:nvPr>
            <p:ph type="chart" sz="quarter" idx="14"/>
          </p:nvPr>
        </p:nvSpPr>
        <p:spPr>
          <a:xfrm>
            <a:off x="722786" y="1979395"/>
            <a:ext cx="5007894" cy="2899210"/>
          </a:xfrm>
        </p:spPr>
        <p:txBody>
          <a:bodyPr>
            <a:normAutofit/>
          </a:bodyPr>
          <a:lstStyle>
            <a:lvl1pPr marL="48600" indent="0" algn="ctr">
              <a:buNone/>
              <a:defRPr sz="1600">
                <a:solidFill>
                  <a:schemeClr val="tx1"/>
                </a:solidFill>
                <a:latin typeface="+mj-lt"/>
              </a:defRPr>
            </a:lvl1pPr>
          </a:lstStyle>
          <a:p>
            <a:endParaRPr lang="en-US"/>
          </a:p>
        </p:txBody>
      </p:sp>
      <p:sp>
        <p:nvSpPr>
          <p:cNvPr id="8" name="Text Placeholder 89">
            <a:extLst>
              <a:ext uri="{FF2B5EF4-FFF2-40B4-BE49-F238E27FC236}">
                <a16:creationId xmlns:a16="http://schemas.microsoft.com/office/drawing/2014/main" id="{4CD6656E-F2F4-4141-9C5B-EA3997D41790}"/>
              </a:ext>
            </a:extLst>
          </p:cNvPr>
          <p:cNvSpPr>
            <a:spLocks noGrp="1"/>
          </p:cNvSpPr>
          <p:nvPr>
            <p:ph type="body" sz="quarter" idx="17"/>
          </p:nvPr>
        </p:nvSpPr>
        <p:spPr>
          <a:xfrm>
            <a:off x="722786" y="5485092"/>
            <a:ext cx="5007894" cy="764312"/>
          </a:xfrm>
          <a:solidFill>
            <a:schemeClr val="bg1">
              <a:lumMod val="95000"/>
            </a:schemeClr>
          </a:solidFill>
        </p:spPr>
        <p:txBody>
          <a:bodyPr wrap="square" lIns="0" tIns="0" rIns="0" bIns="0">
            <a:spAutoFit/>
          </a:bodyPr>
          <a:lstStyle>
            <a:lvl1pPr marL="0" indent="0">
              <a:buNone/>
              <a:defRPr sz="11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a:p>
            <a:pPr lvl="0"/>
            <a:endParaRPr lang="en-US"/>
          </a:p>
          <a:p>
            <a:pPr lvl="0"/>
            <a:endParaRPr lang="en-US"/>
          </a:p>
        </p:txBody>
      </p:sp>
      <p:sp>
        <p:nvSpPr>
          <p:cNvPr id="9" name="Text Placeholder 89">
            <a:extLst>
              <a:ext uri="{FF2B5EF4-FFF2-40B4-BE49-F238E27FC236}">
                <a16:creationId xmlns:a16="http://schemas.microsoft.com/office/drawing/2014/main" id="{B6FA0E04-3209-4C9E-B4D1-1EB36EE67199}"/>
              </a:ext>
            </a:extLst>
          </p:cNvPr>
          <p:cNvSpPr>
            <a:spLocks noGrp="1"/>
          </p:cNvSpPr>
          <p:nvPr>
            <p:ph type="body" sz="quarter" idx="24"/>
          </p:nvPr>
        </p:nvSpPr>
        <p:spPr>
          <a:xfrm>
            <a:off x="722786" y="5225294"/>
            <a:ext cx="5007894" cy="223412"/>
          </a:xfrm>
          <a:solidFill>
            <a:schemeClr val="bg1">
              <a:lumMod val="95000"/>
            </a:schemeClr>
          </a:solidFill>
        </p:spPr>
        <p:txBody>
          <a:bodyPr wrap="square" lIns="0" tIns="0" rIns="0" bIns="0">
            <a:spAutoFit/>
          </a:bodyPr>
          <a:lstStyle>
            <a:lvl1pPr marL="0" indent="0">
              <a:buNone/>
              <a:defRPr sz="14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p:txBody>
      </p:sp>
      <p:sp>
        <p:nvSpPr>
          <p:cNvPr id="11" name="Chart Placeholder 6">
            <a:extLst>
              <a:ext uri="{FF2B5EF4-FFF2-40B4-BE49-F238E27FC236}">
                <a16:creationId xmlns:a16="http://schemas.microsoft.com/office/drawing/2014/main" id="{79657859-AE57-46AD-88D5-E0DF2E6A89D5}"/>
              </a:ext>
            </a:extLst>
          </p:cNvPr>
          <p:cNvSpPr>
            <a:spLocks noGrp="1"/>
          </p:cNvSpPr>
          <p:nvPr>
            <p:ph type="chart" sz="quarter" idx="25"/>
          </p:nvPr>
        </p:nvSpPr>
        <p:spPr>
          <a:xfrm>
            <a:off x="6230492" y="1979395"/>
            <a:ext cx="5007894" cy="2899210"/>
          </a:xfrm>
        </p:spPr>
        <p:txBody>
          <a:bodyPr>
            <a:normAutofit/>
          </a:bodyPr>
          <a:lstStyle>
            <a:lvl1pPr marL="48600" indent="0" algn="ctr">
              <a:buNone/>
              <a:defRPr sz="1600">
                <a:solidFill>
                  <a:schemeClr val="tx1"/>
                </a:solidFill>
                <a:latin typeface="+mj-lt"/>
              </a:defRPr>
            </a:lvl1pPr>
          </a:lstStyle>
          <a:p>
            <a:endParaRPr lang="en-US"/>
          </a:p>
        </p:txBody>
      </p:sp>
      <p:sp>
        <p:nvSpPr>
          <p:cNvPr id="12" name="Text Placeholder 89">
            <a:extLst>
              <a:ext uri="{FF2B5EF4-FFF2-40B4-BE49-F238E27FC236}">
                <a16:creationId xmlns:a16="http://schemas.microsoft.com/office/drawing/2014/main" id="{2C81BBD2-2D2B-43F7-B09C-7811D70BE126}"/>
              </a:ext>
            </a:extLst>
          </p:cNvPr>
          <p:cNvSpPr>
            <a:spLocks noGrp="1"/>
          </p:cNvSpPr>
          <p:nvPr>
            <p:ph type="body" sz="quarter" idx="26"/>
          </p:nvPr>
        </p:nvSpPr>
        <p:spPr>
          <a:xfrm>
            <a:off x="6230492" y="5485092"/>
            <a:ext cx="5007894" cy="764312"/>
          </a:xfrm>
          <a:solidFill>
            <a:schemeClr val="bg1">
              <a:lumMod val="95000"/>
            </a:schemeClr>
          </a:solidFill>
        </p:spPr>
        <p:txBody>
          <a:bodyPr wrap="square" lIns="0" tIns="0" rIns="0" bIns="0">
            <a:spAutoFit/>
          </a:bodyPr>
          <a:lstStyle>
            <a:lvl1pPr marL="0" indent="0">
              <a:buNone/>
              <a:defRPr sz="11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a:p>
            <a:pPr lvl="0"/>
            <a:endParaRPr lang="en-US"/>
          </a:p>
          <a:p>
            <a:pPr lvl="0"/>
            <a:endParaRPr lang="en-US"/>
          </a:p>
        </p:txBody>
      </p:sp>
      <p:sp>
        <p:nvSpPr>
          <p:cNvPr id="13" name="Text Placeholder 89">
            <a:extLst>
              <a:ext uri="{FF2B5EF4-FFF2-40B4-BE49-F238E27FC236}">
                <a16:creationId xmlns:a16="http://schemas.microsoft.com/office/drawing/2014/main" id="{8A06EE65-500D-4848-BD16-38116A739B4D}"/>
              </a:ext>
            </a:extLst>
          </p:cNvPr>
          <p:cNvSpPr>
            <a:spLocks noGrp="1"/>
          </p:cNvSpPr>
          <p:nvPr>
            <p:ph type="body" sz="quarter" idx="27"/>
          </p:nvPr>
        </p:nvSpPr>
        <p:spPr>
          <a:xfrm>
            <a:off x="6230492" y="5225294"/>
            <a:ext cx="5007894" cy="223412"/>
          </a:xfrm>
          <a:solidFill>
            <a:schemeClr val="bg1">
              <a:lumMod val="95000"/>
            </a:schemeClr>
          </a:solidFill>
        </p:spPr>
        <p:txBody>
          <a:bodyPr wrap="square" lIns="0" tIns="0" rIns="0" bIns="0">
            <a:spAutoFit/>
          </a:bodyPr>
          <a:lstStyle>
            <a:lvl1pPr marL="0" indent="0">
              <a:buNone/>
              <a:defRPr sz="14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p:txBody>
      </p:sp>
      <p:sp>
        <p:nvSpPr>
          <p:cNvPr id="14" name="Title 1">
            <a:extLst>
              <a:ext uri="{FF2B5EF4-FFF2-40B4-BE49-F238E27FC236}">
                <a16:creationId xmlns:a16="http://schemas.microsoft.com/office/drawing/2014/main" id="{48741165-D059-4A77-91A8-0B0C9C26E9A2}"/>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15" name="Text Placeholder 5">
            <a:extLst>
              <a:ext uri="{FF2B5EF4-FFF2-40B4-BE49-F238E27FC236}">
                <a16:creationId xmlns:a16="http://schemas.microsoft.com/office/drawing/2014/main" id="{31A9DAC3-AF58-4832-B1A6-07D4C0D2329E}"/>
              </a:ext>
            </a:extLst>
          </p:cNvPr>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30563929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0" name="Slide Number Placeholder 4">
            <a:extLst>
              <a:ext uri="{FF2B5EF4-FFF2-40B4-BE49-F238E27FC236}">
                <a16:creationId xmlns:a16="http://schemas.microsoft.com/office/drawing/2014/main" id="{423858A4-03C7-CE41-8916-C47FD19E2E6A}"/>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14" name="Chart Placeholder 6">
            <a:extLst>
              <a:ext uri="{FF2B5EF4-FFF2-40B4-BE49-F238E27FC236}">
                <a16:creationId xmlns:a16="http://schemas.microsoft.com/office/drawing/2014/main" id="{AB14D73E-9C72-4714-AB12-40C65CFF00FA}"/>
              </a:ext>
            </a:extLst>
          </p:cNvPr>
          <p:cNvSpPr>
            <a:spLocks noGrp="1"/>
          </p:cNvSpPr>
          <p:nvPr>
            <p:ph type="chart" sz="quarter" idx="14"/>
          </p:nvPr>
        </p:nvSpPr>
        <p:spPr>
          <a:xfrm>
            <a:off x="669523" y="2040449"/>
            <a:ext cx="2923408" cy="2899210"/>
          </a:xfrm>
        </p:spPr>
        <p:txBody>
          <a:bodyPr>
            <a:normAutofit/>
          </a:bodyPr>
          <a:lstStyle>
            <a:lvl1pPr marL="48600" indent="0" algn="ctr">
              <a:buNone/>
              <a:defRPr sz="1600">
                <a:solidFill>
                  <a:schemeClr val="tx1"/>
                </a:solidFill>
                <a:latin typeface="+mj-lt"/>
              </a:defRPr>
            </a:lvl1pPr>
          </a:lstStyle>
          <a:p>
            <a:endParaRPr lang="en-US"/>
          </a:p>
        </p:txBody>
      </p:sp>
      <p:sp>
        <p:nvSpPr>
          <p:cNvPr id="15" name="Chart Placeholder 6">
            <a:extLst>
              <a:ext uri="{FF2B5EF4-FFF2-40B4-BE49-F238E27FC236}">
                <a16:creationId xmlns:a16="http://schemas.microsoft.com/office/drawing/2014/main" id="{E61ED25D-F220-4CF8-B008-EEF1ED7B5C33}"/>
              </a:ext>
            </a:extLst>
          </p:cNvPr>
          <p:cNvSpPr>
            <a:spLocks noGrp="1"/>
          </p:cNvSpPr>
          <p:nvPr>
            <p:ph type="chart" sz="quarter" idx="15"/>
          </p:nvPr>
        </p:nvSpPr>
        <p:spPr>
          <a:xfrm>
            <a:off x="4513470" y="2040449"/>
            <a:ext cx="2923408" cy="2847207"/>
          </a:xfrm>
        </p:spPr>
        <p:txBody>
          <a:bodyPr>
            <a:normAutofit/>
          </a:bodyPr>
          <a:lstStyle>
            <a:lvl1pPr marL="48600" indent="0" algn="ctr">
              <a:buNone/>
              <a:defRPr sz="1600">
                <a:solidFill>
                  <a:schemeClr val="tx1"/>
                </a:solidFill>
                <a:latin typeface="+mj-lt"/>
              </a:defRPr>
            </a:lvl1pPr>
          </a:lstStyle>
          <a:p>
            <a:endParaRPr lang="en-US"/>
          </a:p>
        </p:txBody>
      </p:sp>
      <p:sp>
        <p:nvSpPr>
          <p:cNvPr id="16" name="Chart Placeholder 6">
            <a:extLst>
              <a:ext uri="{FF2B5EF4-FFF2-40B4-BE49-F238E27FC236}">
                <a16:creationId xmlns:a16="http://schemas.microsoft.com/office/drawing/2014/main" id="{E65B0199-1B8B-4B89-851C-F3E5A515B085}"/>
              </a:ext>
            </a:extLst>
          </p:cNvPr>
          <p:cNvSpPr>
            <a:spLocks noGrp="1"/>
          </p:cNvSpPr>
          <p:nvPr>
            <p:ph type="chart" sz="quarter" idx="16"/>
          </p:nvPr>
        </p:nvSpPr>
        <p:spPr>
          <a:xfrm>
            <a:off x="8357417" y="2040449"/>
            <a:ext cx="2923408" cy="2847207"/>
          </a:xfrm>
        </p:spPr>
        <p:txBody>
          <a:bodyPr>
            <a:normAutofit/>
          </a:bodyPr>
          <a:lstStyle>
            <a:lvl1pPr marL="48600" indent="0" algn="ctr">
              <a:buNone/>
              <a:defRPr sz="1600">
                <a:solidFill>
                  <a:schemeClr val="tx1"/>
                </a:solidFill>
                <a:latin typeface="+mj-lt"/>
              </a:defRPr>
            </a:lvl1pPr>
          </a:lstStyle>
          <a:p>
            <a:endParaRPr lang="en-US"/>
          </a:p>
        </p:txBody>
      </p:sp>
      <p:sp>
        <p:nvSpPr>
          <p:cNvPr id="17" name="Text Placeholder 89">
            <a:extLst>
              <a:ext uri="{FF2B5EF4-FFF2-40B4-BE49-F238E27FC236}">
                <a16:creationId xmlns:a16="http://schemas.microsoft.com/office/drawing/2014/main" id="{BAF56C16-057E-40F8-938E-31F31612F645}"/>
              </a:ext>
            </a:extLst>
          </p:cNvPr>
          <p:cNvSpPr>
            <a:spLocks noGrp="1"/>
          </p:cNvSpPr>
          <p:nvPr>
            <p:ph type="body" sz="quarter" idx="17"/>
          </p:nvPr>
        </p:nvSpPr>
        <p:spPr>
          <a:xfrm>
            <a:off x="669523" y="5538751"/>
            <a:ext cx="2923408" cy="764312"/>
          </a:xfrm>
          <a:solidFill>
            <a:schemeClr val="bg1">
              <a:lumMod val="95000"/>
            </a:schemeClr>
          </a:solidFill>
        </p:spPr>
        <p:txBody>
          <a:bodyPr wrap="square" lIns="0" tIns="0" rIns="0" bIns="0">
            <a:spAutoFit/>
          </a:bodyPr>
          <a:lstStyle>
            <a:lvl1pPr marL="0" indent="0">
              <a:buNone/>
              <a:defRPr sz="11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a:p>
            <a:pPr lvl="0"/>
            <a:endParaRPr lang="en-US"/>
          </a:p>
          <a:p>
            <a:pPr lvl="0"/>
            <a:endParaRPr lang="en-US"/>
          </a:p>
        </p:txBody>
      </p:sp>
      <p:sp>
        <p:nvSpPr>
          <p:cNvPr id="18" name="Text Placeholder 89">
            <a:extLst>
              <a:ext uri="{FF2B5EF4-FFF2-40B4-BE49-F238E27FC236}">
                <a16:creationId xmlns:a16="http://schemas.microsoft.com/office/drawing/2014/main" id="{3FC63906-D523-439F-A6E2-A1AA3C986EF8}"/>
              </a:ext>
            </a:extLst>
          </p:cNvPr>
          <p:cNvSpPr>
            <a:spLocks noGrp="1"/>
          </p:cNvSpPr>
          <p:nvPr>
            <p:ph type="body" sz="quarter" idx="24"/>
          </p:nvPr>
        </p:nvSpPr>
        <p:spPr>
          <a:xfrm>
            <a:off x="669523" y="5278953"/>
            <a:ext cx="2923408" cy="223412"/>
          </a:xfrm>
          <a:solidFill>
            <a:schemeClr val="bg1">
              <a:lumMod val="95000"/>
            </a:schemeClr>
          </a:solidFill>
        </p:spPr>
        <p:txBody>
          <a:bodyPr wrap="square" lIns="0" tIns="0" rIns="0" bIns="0">
            <a:spAutoFit/>
          </a:bodyPr>
          <a:lstStyle>
            <a:lvl1pPr marL="0" indent="0">
              <a:buNone/>
              <a:defRPr sz="14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p:txBody>
      </p:sp>
      <p:sp>
        <p:nvSpPr>
          <p:cNvPr id="19" name="Text Placeholder 89">
            <a:extLst>
              <a:ext uri="{FF2B5EF4-FFF2-40B4-BE49-F238E27FC236}">
                <a16:creationId xmlns:a16="http://schemas.microsoft.com/office/drawing/2014/main" id="{31CA4F85-4F0F-451E-B932-00DFE5590626}"/>
              </a:ext>
            </a:extLst>
          </p:cNvPr>
          <p:cNvSpPr>
            <a:spLocks noGrp="1"/>
          </p:cNvSpPr>
          <p:nvPr>
            <p:ph type="body" sz="quarter" idx="25"/>
          </p:nvPr>
        </p:nvSpPr>
        <p:spPr>
          <a:xfrm>
            <a:off x="4500469" y="5538751"/>
            <a:ext cx="2923408" cy="764312"/>
          </a:xfrm>
          <a:solidFill>
            <a:schemeClr val="bg1">
              <a:lumMod val="95000"/>
            </a:schemeClr>
          </a:solidFill>
        </p:spPr>
        <p:txBody>
          <a:bodyPr wrap="square" lIns="0" tIns="0" rIns="0" bIns="0">
            <a:spAutoFit/>
          </a:bodyPr>
          <a:lstStyle>
            <a:lvl1pPr marL="0" indent="0">
              <a:buNone/>
              <a:defRPr sz="11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a:p>
            <a:pPr lvl="0"/>
            <a:endParaRPr lang="en-US"/>
          </a:p>
          <a:p>
            <a:pPr lvl="0"/>
            <a:endParaRPr lang="en-US"/>
          </a:p>
        </p:txBody>
      </p:sp>
      <p:sp>
        <p:nvSpPr>
          <p:cNvPr id="20" name="Text Placeholder 89">
            <a:extLst>
              <a:ext uri="{FF2B5EF4-FFF2-40B4-BE49-F238E27FC236}">
                <a16:creationId xmlns:a16="http://schemas.microsoft.com/office/drawing/2014/main" id="{4C44B25A-B24D-4FB5-A705-B9EE8FCA61EC}"/>
              </a:ext>
            </a:extLst>
          </p:cNvPr>
          <p:cNvSpPr>
            <a:spLocks noGrp="1"/>
          </p:cNvSpPr>
          <p:nvPr>
            <p:ph type="body" sz="quarter" idx="26"/>
          </p:nvPr>
        </p:nvSpPr>
        <p:spPr>
          <a:xfrm>
            <a:off x="4500469" y="5278953"/>
            <a:ext cx="2923408" cy="223412"/>
          </a:xfrm>
          <a:solidFill>
            <a:schemeClr val="bg1">
              <a:lumMod val="95000"/>
            </a:schemeClr>
          </a:solidFill>
        </p:spPr>
        <p:txBody>
          <a:bodyPr wrap="square" lIns="0" tIns="0" rIns="0" bIns="0">
            <a:spAutoFit/>
          </a:bodyPr>
          <a:lstStyle>
            <a:lvl1pPr marL="0" indent="0">
              <a:buNone/>
              <a:defRPr sz="14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p:txBody>
      </p:sp>
      <p:sp>
        <p:nvSpPr>
          <p:cNvPr id="21" name="Text Placeholder 89">
            <a:extLst>
              <a:ext uri="{FF2B5EF4-FFF2-40B4-BE49-F238E27FC236}">
                <a16:creationId xmlns:a16="http://schemas.microsoft.com/office/drawing/2014/main" id="{786C7F0D-A39A-4DEA-9263-E7A8FB15CB2D}"/>
              </a:ext>
            </a:extLst>
          </p:cNvPr>
          <p:cNvSpPr>
            <a:spLocks noGrp="1"/>
          </p:cNvSpPr>
          <p:nvPr>
            <p:ph type="body" sz="quarter" idx="27"/>
          </p:nvPr>
        </p:nvSpPr>
        <p:spPr>
          <a:xfrm>
            <a:off x="8348749" y="5538751"/>
            <a:ext cx="2923408" cy="764312"/>
          </a:xfrm>
          <a:solidFill>
            <a:schemeClr val="bg1">
              <a:lumMod val="95000"/>
            </a:schemeClr>
          </a:solidFill>
        </p:spPr>
        <p:txBody>
          <a:bodyPr wrap="square" lIns="0" tIns="0" rIns="0" bIns="0">
            <a:spAutoFit/>
          </a:bodyPr>
          <a:lstStyle>
            <a:lvl1pPr marL="0" indent="0">
              <a:buNone/>
              <a:defRPr sz="11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a:p>
            <a:pPr lvl="0"/>
            <a:endParaRPr lang="en-US"/>
          </a:p>
          <a:p>
            <a:pPr lvl="0"/>
            <a:endParaRPr lang="en-US"/>
          </a:p>
        </p:txBody>
      </p:sp>
      <p:sp>
        <p:nvSpPr>
          <p:cNvPr id="22" name="Text Placeholder 89">
            <a:extLst>
              <a:ext uri="{FF2B5EF4-FFF2-40B4-BE49-F238E27FC236}">
                <a16:creationId xmlns:a16="http://schemas.microsoft.com/office/drawing/2014/main" id="{1933F9A0-0A15-4A06-8D0A-FC302150A4B8}"/>
              </a:ext>
            </a:extLst>
          </p:cNvPr>
          <p:cNvSpPr>
            <a:spLocks noGrp="1"/>
          </p:cNvSpPr>
          <p:nvPr>
            <p:ph type="body" sz="quarter" idx="28"/>
          </p:nvPr>
        </p:nvSpPr>
        <p:spPr>
          <a:xfrm>
            <a:off x="8348749" y="5278953"/>
            <a:ext cx="2923408" cy="223412"/>
          </a:xfrm>
          <a:solidFill>
            <a:schemeClr val="bg1">
              <a:lumMod val="95000"/>
            </a:schemeClr>
          </a:solidFill>
        </p:spPr>
        <p:txBody>
          <a:bodyPr wrap="square" lIns="0" tIns="0" rIns="0" bIns="0">
            <a:spAutoFit/>
          </a:bodyPr>
          <a:lstStyle>
            <a:lvl1pPr marL="0" indent="0">
              <a:buNone/>
              <a:defRPr sz="1400">
                <a:latin typeface="+mn-lt"/>
              </a:defRPr>
            </a:lvl1pPr>
            <a:lvl2pPr marL="457200" indent="0">
              <a:buNone/>
              <a:defRPr/>
            </a:lvl2pPr>
            <a:lvl3pPr marL="914400" indent="0">
              <a:buNone/>
              <a:defRPr/>
            </a:lvl3pPr>
            <a:lvl4pPr marL="1371600" indent="0">
              <a:buNone/>
              <a:defRPr/>
            </a:lvl4pPr>
            <a:lvl5pPr marL="1828800" indent="0">
              <a:buNone/>
              <a:defRPr/>
            </a:lvl5pPr>
          </a:lstStyle>
          <a:p>
            <a:pPr lvl="0"/>
            <a:endParaRPr lang="en-US"/>
          </a:p>
        </p:txBody>
      </p:sp>
      <p:sp>
        <p:nvSpPr>
          <p:cNvPr id="23" name="Title 1">
            <a:extLst>
              <a:ext uri="{FF2B5EF4-FFF2-40B4-BE49-F238E27FC236}">
                <a16:creationId xmlns:a16="http://schemas.microsoft.com/office/drawing/2014/main" id="{427B1B98-662D-4006-BCF9-4410EFB36EF2}"/>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24" name="Text Placeholder 5">
            <a:extLst>
              <a:ext uri="{FF2B5EF4-FFF2-40B4-BE49-F238E27FC236}">
                <a16:creationId xmlns:a16="http://schemas.microsoft.com/office/drawing/2014/main" id="{C5B56654-64C3-43DF-81A9-620CE727BB63}"/>
              </a:ext>
            </a:extLst>
          </p:cNvPr>
          <p:cNvSpPr>
            <a:spLocks noGrp="1"/>
          </p:cNvSpPr>
          <p:nvPr>
            <p:ph type="body" sz="quarter" idx="1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Tree>
    <p:extLst>
      <p:ext uri="{BB962C8B-B14F-4D97-AF65-F5344CB8AC3E}">
        <p14:creationId xmlns:p14="http://schemas.microsoft.com/office/powerpoint/2010/main" val="32564860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自訂版面配置">
    <p:spTree>
      <p:nvGrpSpPr>
        <p:cNvPr id="1" name=""/>
        <p:cNvGrpSpPr/>
        <p:nvPr/>
      </p:nvGrpSpPr>
      <p:grpSpPr>
        <a:xfrm>
          <a:off x="0" y="0"/>
          <a:ext cx="0" cy="0"/>
          <a:chOff x="0" y="0"/>
          <a:chExt cx="0" cy="0"/>
        </a:xfrm>
      </p:grpSpPr>
      <p:sp>
        <p:nvSpPr>
          <p:cNvPr id="4" name="Picture Placeholder 6">
            <a:extLst>
              <a:ext uri="{FF2B5EF4-FFF2-40B4-BE49-F238E27FC236}">
                <a16:creationId xmlns:a16="http://schemas.microsoft.com/office/drawing/2014/main" id="{53F95B9D-58A5-4FA3-9A4B-64D30E8EBEF5}"/>
              </a:ext>
            </a:extLst>
          </p:cNvPr>
          <p:cNvSpPr>
            <a:spLocks noGrp="1"/>
          </p:cNvSpPr>
          <p:nvPr>
            <p:ph type="pic" sz="quarter" idx="13"/>
          </p:nvPr>
        </p:nvSpPr>
        <p:spPr>
          <a:xfrm>
            <a:off x="6495547" y="3977811"/>
            <a:ext cx="1684800" cy="835200"/>
          </a:xfrm>
        </p:spPr>
        <p:txBody>
          <a:bodyPr anchor="ctr">
            <a:normAutofit/>
          </a:bodyPr>
          <a:lstStyle>
            <a:lvl1pPr marL="0" indent="0" algn="ctr">
              <a:buNone/>
              <a:defRPr sz="1100"/>
            </a:lvl1pPr>
          </a:lstStyle>
          <a:p>
            <a:endParaRPr lang="en-US"/>
          </a:p>
        </p:txBody>
      </p:sp>
      <p:sp>
        <p:nvSpPr>
          <p:cNvPr id="5" name="Picture Placeholder 6">
            <a:extLst>
              <a:ext uri="{FF2B5EF4-FFF2-40B4-BE49-F238E27FC236}">
                <a16:creationId xmlns:a16="http://schemas.microsoft.com/office/drawing/2014/main" id="{B39B0FCC-8797-44D1-90BE-9531599BC488}"/>
              </a:ext>
            </a:extLst>
          </p:cNvPr>
          <p:cNvSpPr>
            <a:spLocks noGrp="1"/>
          </p:cNvSpPr>
          <p:nvPr>
            <p:ph type="pic" sz="quarter" idx="14"/>
          </p:nvPr>
        </p:nvSpPr>
        <p:spPr>
          <a:xfrm>
            <a:off x="607374" y="3977811"/>
            <a:ext cx="1684800" cy="835200"/>
          </a:xfrm>
        </p:spPr>
        <p:txBody>
          <a:bodyPr anchor="ctr">
            <a:normAutofit/>
          </a:bodyPr>
          <a:lstStyle>
            <a:lvl1pPr marL="0" indent="0" algn="ctr">
              <a:buNone/>
              <a:defRPr sz="1100"/>
            </a:lvl1pPr>
          </a:lstStyle>
          <a:p>
            <a:endParaRPr lang="en-US"/>
          </a:p>
        </p:txBody>
      </p:sp>
      <p:sp>
        <p:nvSpPr>
          <p:cNvPr id="6" name="Picture Placeholder 6">
            <a:extLst>
              <a:ext uri="{FF2B5EF4-FFF2-40B4-BE49-F238E27FC236}">
                <a16:creationId xmlns:a16="http://schemas.microsoft.com/office/drawing/2014/main" id="{9F92A1AE-F3B6-4780-B871-3C08C347A045}"/>
              </a:ext>
            </a:extLst>
          </p:cNvPr>
          <p:cNvSpPr>
            <a:spLocks noGrp="1"/>
          </p:cNvSpPr>
          <p:nvPr>
            <p:ph type="pic" sz="quarter" idx="15"/>
          </p:nvPr>
        </p:nvSpPr>
        <p:spPr>
          <a:xfrm>
            <a:off x="2570098" y="3977811"/>
            <a:ext cx="1684800" cy="835200"/>
          </a:xfrm>
        </p:spPr>
        <p:txBody>
          <a:bodyPr anchor="ctr">
            <a:normAutofit/>
          </a:bodyPr>
          <a:lstStyle>
            <a:lvl1pPr marL="0" indent="0" algn="ctr">
              <a:buNone/>
              <a:defRPr sz="1100"/>
            </a:lvl1pPr>
          </a:lstStyle>
          <a:p>
            <a:endParaRPr lang="en-US"/>
          </a:p>
        </p:txBody>
      </p:sp>
      <p:sp>
        <p:nvSpPr>
          <p:cNvPr id="7" name="Picture Placeholder 6">
            <a:extLst>
              <a:ext uri="{FF2B5EF4-FFF2-40B4-BE49-F238E27FC236}">
                <a16:creationId xmlns:a16="http://schemas.microsoft.com/office/drawing/2014/main" id="{B678D310-8E6C-4769-9D0F-B229029B137A}"/>
              </a:ext>
            </a:extLst>
          </p:cNvPr>
          <p:cNvSpPr>
            <a:spLocks noGrp="1"/>
          </p:cNvSpPr>
          <p:nvPr>
            <p:ph type="pic" sz="quarter" idx="16"/>
          </p:nvPr>
        </p:nvSpPr>
        <p:spPr>
          <a:xfrm>
            <a:off x="4532822" y="3977811"/>
            <a:ext cx="1684800" cy="835200"/>
          </a:xfrm>
        </p:spPr>
        <p:txBody>
          <a:bodyPr anchor="ctr">
            <a:normAutofit/>
          </a:bodyPr>
          <a:lstStyle>
            <a:lvl1pPr marL="0" indent="0" algn="ctr">
              <a:buNone/>
              <a:defRPr sz="1100"/>
            </a:lvl1pPr>
          </a:lstStyle>
          <a:p>
            <a:endParaRPr lang="en-US"/>
          </a:p>
        </p:txBody>
      </p:sp>
      <p:sp>
        <p:nvSpPr>
          <p:cNvPr id="8" name="Picture Placeholder 6">
            <a:extLst>
              <a:ext uri="{FF2B5EF4-FFF2-40B4-BE49-F238E27FC236}">
                <a16:creationId xmlns:a16="http://schemas.microsoft.com/office/drawing/2014/main" id="{452034CC-4569-47B8-B013-002FAADC77F0}"/>
              </a:ext>
            </a:extLst>
          </p:cNvPr>
          <p:cNvSpPr>
            <a:spLocks noGrp="1"/>
          </p:cNvSpPr>
          <p:nvPr>
            <p:ph type="pic" sz="quarter" idx="17"/>
          </p:nvPr>
        </p:nvSpPr>
        <p:spPr>
          <a:xfrm>
            <a:off x="9438174" y="2194739"/>
            <a:ext cx="1684800" cy="835200"/>
          </a:xfrm>
        </p:spPr>
        <p:txBody>
          <a:bodyPr anchor="ctr">
            <a:normAutofit/>
          </a:bodyPr>
          <a:lstStyle>
            <a:lvl1pPr marL="0" indent="0" algn="ctr">
              <a:buNone/>
              <a:defRPr sz="1100"/>
            </a:lvl1pPr>
          </a:lstStyle>
          <a:p>
            <a:endParaRPr lang="en-US"/>
          </a:p>
        </p:txBody>
      </p:sp>
      <p:sp>
        <p:nvSpPr>
          <p:cNvPr id="9" name="Picture Placeholder 6">
            <a:extLst>
              <a:ext uri="{FF2B5EF4-FFF2-40B4-BE49-F238E27FC236}">
                <a16:creationId xmlns:a16="http://schemas.microsoft.com/office/drawing/2014/main" id="{5C55EE30-CEB5-4F5E-BC88-BA529C5B0C94}"/>
              </a:ext>
            </a:extLst>
          </p:cNvPr>
          <p:cNvSpPr>
            <a:spLocks noGrp="1"/>
          </p:cNvSpPr>
          <p:nvPr>
            <p:ph type="pic" sz="quarter" idx="18"/>
          </p:nvPr>
        </p:nvSpPr>
        <p:spPr>
          <a:xfrm>
            <a:off x="3600365" y="2194739"/>
            <a:ext cx="1684800" cy="835200"/>
          </a:xfrm>
        </p:spPr>
        <p:txBody>
          <a:bodyPr anchor="ctr">
            <a:normAutofit/>
          </a:bodyPr>
          <a:lstStyle>
            <a:lvl1pPr marL="0" indent="0" algn="ctr">
              <a:buNone/>
              <a:defRPr sz="1100"/>
            </a:lvl1pPr>
          </a:lstStyle>
          <a:p>
            <a:endParaRPr lang="en-US"/>
          </a:p>
        </p:txBody>
      </p:sp>
      <p:sp>
        <p:nvSpPr>
          <p:cNvPr id="10" name="Picture Placeholder 6">
            <a:extLst>
              <a:ext uri="{FF2B5EF4-FFF2-40B4-BE49-F238E27FC236}">
                <a16:creationId xmlns:a16="http://schemas.microsoft.com/office/drawing/2014/main" id="{79884772-4D5A-4516-A5FF-BDFBDDBF1EF9}"/>
              </a:ext>
            </a:extLst>
          </p:cNvPr>
          <p:cNvSpPr>
            <a:spLocks noGrp="1"/>
          </p:cNvSpPr>
          <p:nvPr>
            <p:ph type="pic" sz="quarter" idx="19"/>
          </p:nvPr>
        </p:nvSpPr>
        <p:spPr>
          <a:xfrm>
            <a:off x="5563089" y="2194739"/>
            <a:ext cx="1684800" cy="835200"/>
          </a:xfrm>
        </p:spPr>
        <p:txBody>
          <a:bodyPr anchor="ctr">
            <a:normAutofit/>
          </a:bodyPr>
          <a:lstStyle>
            <a:lvl1pPr marL="0" indent="0" algn="ctr">
              <a:buNone/>
              <a:defRPr sz="1100"/>
            </a:lvl1pPr>
          </a:lstStyle>
          <a:p>
            <a:endParaRPr lang="en-US"/>
          </a:p>
        </p:txBody>
      </p:sp>
      <p:sp>
        <p:nvSpPr>
          <p:cNvPr id="11" name="Picture Placeholder 6">
            <a:extLst>
              <a:ext uri="{FF2B5EF4-FFF2-40B4-BE49-F238E27FC236}">
                <a16:creationId xmlns:a16="http://schemas.microsoft.com/office/drawing/2014/main" id="{2F750D99-74EB-4630-B2EB-B128B73E3FEC}"/>
              </a:ext>
            </a:extLst>
          </p:cNvPr>
          <p:cNvSpPr>
            <a:spLocks noGrp="1"/>
          </p:cNvSpPr>
          <p:nvPr>
            <p:ph type="pic" sz="quarter" idx="20"/>
          </p:nvPr>
        </p:nvSpPr>
        <p:spPr>
          <a:xfrm>
            <a:off x="7475449" y="2194739"/>
            <a:ext cx="1684800" cy="835200"/>
          </a:xfrm>
        </p:spPr>
        <p:txBody>
          <a:bodyPr anchor="ctr">
            <a:normAutofit/>
          </a:bodyPr>
          <a:lstStyle>
            <a:lvl1pPr marL="0" indent="0" algn="ctr">
              <a:buNone/>
              <a:defRPr sz="1100"/>
            </a:lvl1pPr>
          </a:lstStyle>
          <a:p>
            <a:endParaRPr lang="en-US"/>
          </a:p>
        </p:txBody>
      </p:sp>
      <p:sp>
        <p:nvSpPr>
          <p:cNvPr id="12" name="Picture Placeholder 6">
            <a:extLst>
              <a:ext uri="{FF2B5EF4-FFF2-40B4-BE49-F238E27FC236}">
                <a16:creationId xmlns:a16="http://schemas.microsoft.com/office/drawing/2014/main" id="{D16665A5-5D8C-44D0-B45D-6BC8E80D54E4}"/>
              </a:ext>
            </a:extLst>
          </p:cNvPr>
          <p:cNvSpPr>
            <a:spLocks noGrp="1"/>
          </p:cNvSpPr>
          <p:nvPr>
            <p:ph type="pic" sz="quarter" idx="21"/>
          </p:nvPr>
        </p:nvSpPr>
        <p:spPr>
          <a:xfrm>
            <a:off x="1637640" y="2194739"/>
            <a:ext cx="1684800" cy="835200"/>
          </a:xfrm>
        </p:spPr>
        <p:txBody>
          <a:bodyPr anchor="ctr">
            <a:normAutofit/>
          </a:bodyPr>
          <a:lstStyle>
            <a:lvl1pPr marL="0" indent="0" algn="ctr">
              <a:buNone/>
              <a:defRPr sz="1100"/>
            </a:lvl1pPr>
          </a:lstStyle>
          <a:p>
            <a:endParaRPr lang="en-US"/>
          </a:p>
        </p:txBody>
      </p:sp>
      <p:sp>
        <p:nvSpPr>
          <p:cNvPr id="13" name="Picture Placeholder 6">
            <a:extLst>
              <a:ext uri="{FF2B5EF4-FFF2-40B4-BE49-F238E27FC236}">
                <a16:creationId xmlns:a16="http://schemas.microsoft.com/office/drawing/2014/main" id="{DFF93CE2-06B8-4755-A992-514CE1A10A0C}"/>
              </a:ext>
            </a:extLst>
          </p:cNvPr>
          <p:cNvSpPr>
            <a:spLocks noGrp="1"/>
          </p:cNvSpPr>
          <p:nvPr>
            <p:ph type="pic" sz="quarter" idx="22"/>
          </p:nvPr>
        </p:nvSpPr>
        <p:spPr>
          <a:xfrm>
            <a:off x="8458272" y="3977811"/>
            <a:ext cx="1684800" cy="835200"/>
          </a:xfrm>
        </p:spPr>
        <p:txBody>
          <a:bodyPr anchor="ctr">
            <a:normAutofit/>
          </a:bodyPr>
          <a:lstStyle>
            <a:lvl1pPr marL="0" indent="0" algn="ctr">
              <a:buNone/>
              <a:defRPr sz="1100"/>
            </a:lvl1pPr>
          </a:lstStyle>
          <a:p>
            <a:endParaRPr lang="en-US"/>
          </a:p>
        </p:txBody>
      </p:sp>
      <p:sp>
        <p:nvSpPr>
          <p:cNvPr id="15" name="Title 1">
            <a:extLst>
              <a:ext uri="{FF2B5EF4-FFF2-40B4-BE49-F238E27FC236}">
                <a16:creationId xmlns:a16="http://schemas.microsoft.com/office/drawing/2014/main" id="{7FF42EEB-0B34-49F8-A8A1-13D969E1EEC5}"/>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16" name="Text Placeholder 5">
            <a:extLst>
              <a:ext uri="{FF2B5EF4-FFF2-40B4-BE49-F238E27FC236}">
                <a16:creationId xmlns:a16="http://schemas.microsoft.com/office/drawing/2014/main" id="{63D8AD4A-94E0-41DB-9CC5-3685A4C41141}"/>
              </a:ext>
            </a:extLst>
          </p:cNvPr>
          <p:cNvSpPr>
            <a:spLocks noGrp="1"/>
          </p:cNvSpPr>
          <p:nvPr>
            <p:ph type="body" sz="quarter" idx="23"/>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
        <p:nvSpPr>
          <p:cNvPr id="17" name="Slide Number Placeholder 4">
            <a:extLst>
              <a:ext uri="{FF2B5EF4-FFF2-40B4-BE49-F238E27FC236}">
                <a16:creationId xmlns:a16="http://schemas.microsoft.com/office/drawing/2014/main" id="{86369369-456E-4162-94E1-B7A31E19EE66}"/>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Tree>
    <p:extLst>
      <p:ext uri="{BB962C8B-B14F-4D97-AF65-F5344CB8AC3E}">
        <p14:creationId xmlns:p14="http://schemas.microsoft.com/office/powerpoint/2010/main" val="29504610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自訂版面配置">
    <p:spTree>
      <p:nvGrpSpPr>
        <p:cNvPr id="1" name=""/>
        <p:cNvGrpSpPr/>
        <p:nvPr/>
      </p:nvGrpSpPr>
      <p:grpSpPr>
        <a:xfrm>
          <a:off x="0" y="0"/>
          <a:ext cx="0" cy="0"/>
          <a:chOff x="0" y="0"/>
          <a:chExt cx="0" cy="0"/>
        </a:xfrm>
      </p:grpSpPr>
      <p:sp>
        <p:nvSpPr>
          <p:cNvPr id="14" name="Picture Placeholder 9">
            <a:extLst>
              <a:ext uri="{FF2B5EF4-FFF2-40B4-BE49-F238E27FC236}">
                <a16:creationId xmlns:a16="http://schemas.microsoft.com/office/drawing/2014/main" id="{476459E4-2D63-4FDB-BC1B-39A486EFEDA9}"/>
              </a:ext>
            </a:extLst>
          </p:cNvPr>
          <p:cNvSpPr>
            <a:spLocks noGrp="1"/>
          </p:cNvSpPr>
          <p:nvPr>
            <p:ph type="pic" sz="quarter" idx="13"/>
          </p:nvPr>
        </p:nvSpPr>
        <p:spPr>
          <a:xfrm>
            <a:off x="1122284" y="1686477"/>
            <a:ext cx="2041267" cy="2041267"/>
          </a:xfrm>
        </p:spPr>
        <p:txBody>
          <a:bodyPr anchor="ctr"/>
          <a:lstStyle>
            <a:lvl1pPr marL="0" indent="0" algn="ctr">
              <a:buNone/>
              <a:defRPr>
                <a:solidFill>
                  <a:schemeClr val="tx1"/>
                </a:solidFill>
              </a:defRPr>
            </a:lvl1pPr>
          </a:lstStyle>
          <a:p>
            <a:endParaRPr lang="en-US"/>
          </a:p>
        </p:txBody>
      </p:sp>
      <p:sp>
        <p:nvSpPr>
          <p:cNvPr id="15" name="Picture Placeholder 9">
            <a:extLst>
              <a:ext uri="{FF2B5EF4-FFF2-40B4-BE49-F238E27FC236}">
                <a16:creationId xmlns:a16="http://schemas.microsoft.com/office/drawing/2014/main" id="{2AE84EA8-22FF-42CB-9A80-681F986AC10B}"/>
              </a:ext>
            </a:extLst>
          </p:cNvPr>
          <p:cNvSpPr>
            <a:spLocks noGrp="1"/>
          </p:cNvSpPr>
          <p:nvPr>
            <p:ph type="pic" sz="quarter" idx="14"/>
          </p:nvPr>
        </p:nvSpPr>
        <p:spPr>
          <a:xfrm>
            <a:off x="3457527" y="1686477"/>
            <a:ext cx="2041267" cy="2041267"/>
          </a:xfrm>
        </p:spPr>
        <p:txBody>
          <a:bodyPr anchor="ctr"/>
          <a:lstStyle>
            <a:lvl1pPr marL="0" indent="0" algn="ctr">
              <a:buNone/>
              <a:defRPr>
                <a:solidFill>
                  <a:schemeClr val="tx1"/>
                </a:solidFill>
              </a:defRPr>
            </a:lvl1pPr>
          </a:lstStyle>
          <a:p>
            <a:endParaRPr lang="en-US"/>
          </a:p>
        </p:txBody>
      </p:sp>
      <p:sp>
        <p:nvSpPr>
          <p:cNvPr id="16" name="Picture Placeholder 9">
            <a:extLst>
              <a:ext uri="{FF2B5EF4-FFF2-40B4-BE49-F238E27FC236}">
                <a16:creationId xmlns:a16="http://schemas.microsoft.com/office/drawing/2014/main" id="{6212A569-9C3E-424B-B5A6-5C2DAC28259F}"/>
              </a:ext>
            </a:extLst>
          </p:cNvPr>
          <p:cNvSpPr>
            <a:spLocks noGrp="1"/>
          </p:cNvSpPr>
          <p:nvPr>
            <p:ph type="pic" sz="quarter" idx="15"/>
          </p:nvPr>
        </p:nvSpPr>
        <p:spPr>
          <a:xfrm>
            <a:off x="1122284" y="4021722"/>
            <a:ext cx="2041267" cy="2041267"/>
          </a:xfrm>
        </p:spPr>
        <p:txBody>
          <a:bodyPr anchor="ctr"/>
          <a:lstStyle>
            <a:lvl1pPr marL="0" indent="0" algn="ctr">
              <a:buNone/>
              <a:defRPr>
                <a:solidFill>
                  <a:schemeClr val="tx1"/>
                </a:solidFill>
              </a:defRPr>
            </a:lvl1pPr>
          </a:lstStyle>
          <a:p>
            <a:endParaRPr lang="en-US"/>
          </a:p>
        </p:txBody>
      </p:sp>
      <p:sp>
        <p:nvSpPr>
          <p:cNvPr id="17" name="Picture Placeholder 9">
            <a:extLst>
              <a:ext uri="{FF2B5EF4-FFF2-40B4-BE49-F238E27FC236}">
                <a16:creationId xmlns:a16="http://schemas.microsoft.com/office/drawing/2014/main" id="{7AEFF1C0-3EB0-458D-83EA-78C877AE3BE8}"/>
              </a:ext>
            </a:extLst>
          </p:cNvPr>
          <p:cNvSpPr>
            <a:spLocks noGrp="1"/>
          </p:cNvSpPr>
          <p:nvPr>
            <p:ph type="pic" sz="quarter" idx="16"/>
          </p:nvPr>
        </p:nvSpPr>
        <p:spPr>
          <a:xfrm>
            <a:off x="3457527" y="4021722"/>
            <a:ext cx="2041267" cy="2041267"/>
          </a:xfrm>
        </p:spPr>
        <p:txBody>
          <a:bodyPr anchor="ctr"/>
          <a:lstStyle>
            <a:lvl1pPr marL="0" indent="0" algn="ctr">
              <a:buNone/>
              <a:defRPr>
                <a:solidFill>
                  <a:schemeClr val="tx1"/>
                </a:solidFill>
              </a:defRPr>
            </a:lvl1pPr>
          </a:lstStyle>
          <a:p>
            <a:endParaRPr lang="en-US"/>
          </a:p>
        </p:txBody>
      </p:sp>
      <p:sp>
        <p:nvSpPr>
          <p:cNvPr id="9" name="Title 1">
            <a:extLst>
              <a:ext uri="{FF2B5EF4-FFF2-40B4-BE49-F238E27FC236}">
                <a16:creationId xmlns:a16="http://schemas.microsoft.com/office/drawing/2014/main" id="{2439A4B5-EAF8-449C-AC40-97ED622945F3}"/>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10" name="Text Placeholder 5">
            <a:extLst>
              <a:ext uri="{FF2B5EF4-FFF2-40B4-BE49-F238E27FC236}">
                <a16:creationId xmlns:a16="http://schemas.microsoft.com/office/drawing/2014/main" id="{BC51E1CB-D451-4842-8A1A-DB345FB5D248}"/>
              </a:ext>
            </a:extLst>
          </p:cNvPr>
          <p:cNvSpPr>
            <a:spLocks noGrp="1"/>
          </p:cNvSpPr>
          <p:nvPr>
            <p:ph type="body" sz="quarter" idx="17"/>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
        <p:nvSpPr>
          <p:cNvPr id="11" name="Slide Number Placeholder 4">
            <a:extLst>
              <a:ext uri="{FF2B5EF4-FFF2-40B4-BE49-F238E27FC236}">
                <a16:creationId xmlns:a16="http://schemas.microsoft.com/office/drawing/2014/main" id="{92356458-2968-487A-B073-8DF58D38A5A9}"/>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Tree>
    <p:extLst>
      <p:ext uri="{BB962C8B-B14F-4D97-AF65-F5344CB8AC3E}">
        <p14:creationId xmlns:p14="http://schemas.microsoft.com/office/powerpoint/2010/main" val="15526145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自訂版面配置">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DBF32B4E-52E8-403E-90CF-6AF434631A92}"/>
              </a:ext>
            </a:extLst>
          </p:cNvPr>
          <p:cNvSpPr>
            <a:spLocks noGrp="1"/>
          </p:cNvSpPr>
          <p:nvPr>
            <p:ph type="pic" sz="quarter" idx="13"/>
          </p:nvPr>
        </p:nvSpPr>
        <p:spPr>
          <a:xfrm>
            <a:off x="669522" y="2057215"/>
            <a:ext cx="6898429" cy="3448930"/>
          </a:xfrm>
        </p:spPr>
        <p:txBody>
          <a:bodyPr anchor="ctr"/>
          <a:lstStyle>
            <a:lvl1pPr marL="0" indent="0" algn="ctr">
              <a:buNone/>
              <a:defRPr>
                <a:solidFill>
                  <a:schemeClr val="tx1"/>
                </a:solidFill>
              </a:defRPr>
            </a:lvl1pPr>
          </a:lstStyle>
          <a:p>
            <a:endParaRPr lang="en-US"/>
          </a:p>
        </p:txBody>
      </p:sp>
      <p:sp>
        <p:nvSpPr>
          <p:cNvPr id="9" name="Picture Placeholder 9">
            <a:extLst>
              <a:ext uri="{FF2B5EF4-FFF2-40B4-BE49-F238E27FC236}">
                <a16:creationId xmlns:a16="http://schemas.microsoft.com/office/drawing/2014/main" id="{033B4B7C-5B8A-4968-9EE1-C451FBE1B5E7}"/>
              </a:ext>
            </a:extLst>
          </p:cNvPr>
          <p:cNvSpPr>
            <a:spLocks noGrp="1"/>
          </p:cNvSpPr>
          <p:nvPr>
            <p:ph type="pic" sz="quarter" idx="14"/>
          </p:nvPr>
        </p:nvSpPr>
        <p:spPr>
          <a:xfrm>
            <a:off x="7744604" y="2057215"/>
            <a:ext cx="1631933" cy="1631933"/>
          </a:xfrm>
        </p:spPr>
        <p:txBody>
          <a:bodyPr anchor="ctr"/>
          <a:lstStyle>
            <a:lvl1pPr marL="0" indent="0" algn="ctr">
              <a:buNone/>
              <a:defRPr>
                <a:solidFill>
                  <a:schemeClr val="tx1"/>
                </a:solidFill>
              </a:defRPr>
            </a:lvl1pPr>
          </a:lstStyle>
          <a:p>
            <a:endParaRPr lang="en-US"/>
          </a:p>
        </p:txBody>
      </p:sp>
      <p:sp>
        <p:nvSpPr>
          <p:cNvPr id="10" name="Picture Placeholder 9">
            <a:extLst>
              <a:ext uri="{FF2B5EF4-FFF2-40B4-BE49-F238E27FC236}">
                <a16:creationId xmlns:a16="http://schemas.microsoft.com/office/drawing/2014/main" id="{4699CBD8-2D76-42E8-B320-9224869BB202}"/>
              </a:ext>
            </a:extLst>
          </p:cNvPr>
          <p:cNvSpPr>
            <a:spLocks noGrp="1"/>
          </p:cNvSpPr>
          <p:nvPr>
            <p:ph type="pic" sz="quarter" idx="15"/>
          </p:nvPr>
        </p:nvSpPr>
        <p:spPr>
          <a:xfrm>
            <a:off x="9553188" y="2057215"/>
            <a:ext cx="1631933" cy="1631933"/>
          </a:xfrm>
        </p:spPr>
        <p:txBody>
          <a:bodyPr anchor="ctr"/>
          <a:lstStyle>
            <a:lvl1pPr marL="0" indent="0" algn="ctr">
              <a:buNone/>
              <a:defRPr>
                <a:solidFill>
                  <a:schemeClr val="tx1"/>
                </a:solidFill>
              </a:defRPr>
            </a:lvl1pPr>
          </a:lstStyle>
          <a:p>
            <a:endParaRPr lang="en-US"/>
          </a:p>
        </p:txBody>
      </p:sp>
      <p:sp>
        <p:nvSpPr>
          <p:cNvPr id="11" name="Picture Placeholder 9">
            <a:extLst>
              <a:ext uri="{FF2B5EF4-FFF2-40B4-BE49-F238E27FC236}">
                <a16:creationId xmlns:a16="http://schemas.microsoft.com/office/drawing/2014/main" id="{A81C176F-4668-4E80-8D69-D446E746F42C}"/>
              </a:ext>
            </a:extLst>
          </p:cNvPr>
          <p:cNvSpPr>
            <a:spLocks noGrp="1"/>
          </p:cNvSpPr>
          <p:nvPr>
            <p:ph type="pic" sz="quarter" idx="16"/>
          </p:nvPr>
        </p:nvSpPr>
        <p:spPr>
          <a:xfrm>
            <a:off x="7744604" y="3877370"/>
            <a:ext cx="1631933" cy="1631933"/>
          </a:xfrm>
        </p:spPr>
        <p:txBody>
          <a:bodyPr anchor="ctr"/>
          <a:lstStyle>
            <a:lvl1pPr marL="0" indent="0" algn="ctr">
              <a:buNone/>
              <a:defRPr>
                <a:solidFill>
                  <a:schemeClr val="tx1"/>
                </a:solidFill>
              </a:defRPr>
            </a:lvl1pPr>
          </a:lstStyle>
          <a:p>
            <a:endParaRPr lang="en-US"/>
          </a:p>
        </p:txBody>
      </p:sp>
      <p:sp>
        <p:nvSpPr>
          <p:cNvPr id="12" name="Picture Placeholder 9">
            <a:extLst>
              <a:ext uri="{FF2B5EF4-FFF2-40B4-BE49-F238E27FC236}">
                <a16:creationId xmlns:a16="http://schemas.microsoft.com/office/drawing/2014/main" id="{7F9D82C4-0C43-4AAD-AA24-732B757DB1AD}"/>
              </a:ext>
            </a:extLst>
          </p:cNvPr>
          <p:cNvSpPr>
            <a:spLocks noGrp="1"/>
          </p:cNvSpPr>
          <p:nvPr>
            <p:ph type="pic" sz="quarter" idx="17"/>
          </p:nvPr>
        </p:nvSpPr>
        <p:spPr>
          <a:xfrm>
            <a:off x="9553188" y="3877370"/>
            <a:ext cx="1631933" cy="1631933"/>
          </a:xfrm>
        </p:spPr>
        <p:txBody>
          <a:bodyPr anchor="ctr"/>
          <a:lstStyle>
            <a:lvl1pPr marL="0" indent="0" algn="ctr">
              <a:buNone/>
              <a:defRPr>
                <a:solidFill>
                  <a:schemeClr val="tx1"/>
                </a:solidFill>
              </a:defRPr>
            </a:lvl1pPr>
          </a:lstStyle>
          <a:p>
            <a:endParaRPr lang="en-US"/>
          </a:p>
        </p:txBody>
      </p:sp>
      <p:sp>
        <p:nvSpPr>
          <p:cNvPr id="14" name="Title 1">
            <a:extLst>
              <a:ext uri="{FF2B5EF4-FFF2-40B4-BE49-F238E27FC236}">
                <a16:creationId xmlns:a16="http://schemas.microsoft.com/office/drawing/2014/main" id="{FE283183-1ECD-40F5-B16D-DF9A62E1DC29}"/>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15" name="Text Placeholder 5">
            <a:extLst>
              <a:ext uri="{FF2B5EF4-FFF2-40B4-BE49-F238E27FC236}">
                <a16:creationId xmlns:a16="http://schemas.microsoft.com/office/drawing/2014/main" id="{BA6E5FDD-D462-4EE5-AEE7-1EBC7FE53358}"/>
              </a:ext>
            </a:extLst>
          </p:cNvPr>
          <p:cNvSpPr>
            <a:spLocks noGrp="1"/>
          </p:cNvSpPr>
          <p:nvPr>
            <p:ph type="body" sz="quarter" idx="18"/>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
        <p:nvSpPr>
          <p:cNvPr id="13" name="Slide Number Placeholder 4">
            <a:extLst>
              <a:ext uri="{FF2B5EF4-FFF2-40B4-BE49-F238E27FC236}">
                <a16:creationId xmlns:a16="http://schemas.microsoft.com/office/drawing/2014/main" id="{A10CD4C3-B1AF-4202-9D10-200FB94EDD28}"/>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Tree>
    <p:extLst>
      <p:ext uri="{BB962C8B-B14F-4D97-AF65-F5344CB8AC3E}">
        <p14:creationId xmlns:p14="http://schemas.microsoft.com/office/powerpoint/2010/main" val="28174496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自訂版面配置">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85E84EB-8C59-4AE4-926B-32E4153A8193}"/>
              </a:ext>
            </a:extLst>
          </p:cNvPr>
          <p:cNvSpPr>
            <a:spLocks noGrp="1"/>
          </p:cNvSpPr>
          <p:nvPr>
            <p:ph type="pic" sz="quarter" idx="13"/>
          </p:nvPr>
        </p:nvSpPr>
        <p:spPr>
          <a:xfrm>
            <a:off x="705034" y="1469607"/>
            <a:ext cx="2372627" cy="2372627"/>
          </a:xfrm>
        </p:spPr>
        <p:txBody>
          <a:bodyPr anchor="ctr"/>
          <a:lstStyle>
            <a:lvl1pPr marL="0" indent="0" algn="ctr">
              <a:buNone/>
              <a:defRPr>
                <a:solidFill>
                  <a:schemeClr val="tx1"/>
                </a:solidFill>
              </a:defRPr>
            </a:lvl1pPr>
          </a:lstStyle>
          <a:p>
            <a:endParaRPr lang="en-US"/>
          </a:p>
        </p:txBody>
      </p:sp>
      <p:sp>
        <p:nvSpPr>
          <p:cNvPr id="14" name="Picture Placeholder 9">
            <a:extLst>
              <a:ext uri="{FF2B5EF4-FFF2-40B4-BE49-F238E27FC236}">
                <a16:creationId xmlns:a16="http://schemas.microsoft.com/office/drawing/2014/main" id="{13D2FFE9-A400-4361-ABE6-61BEB28EA61E}"/>
              </a:ext>
            </a:extLst>
          </p:cNvPr>
          <p:cNvSpPr>
            <a:spLocks noGrp="1"/>
          </p:cNvSpPr>
          <p:nvPr>
            <p:ph type="pic" sz="quarter" idx="14"/>
          </p:nvPr>
        </p:nvSpPr>
        <p:spPr>
          <a:xfrm>
            <a:off x="705034" y="4024133"/>
            <a:ext cx="2372627" cy="2372627"/>
          </a:xfrm>
        </p:spPr>
        <p:txBody>
          <a:bodyPr anchor="ctr"/>
          <a:lstStyle>
            <a:lvl1pPr marL="0" indent="0" algn="ctr">
              <a:buNone/>
              <a:defRPr>
                <a:solidFill>
                  <a:schemeClr val="tx1"/>
                </a:solidFill>
              </a:defRPr>
            </a:lvl1pPr>
          </a:lstStyle>
          <a:p>
            <a:endParaRPr lang="en-US"/>
          </a:p>
        </p:txBody>
      </p:sp>
      <p:sp>
        <p:nvSpPr>
          <p:cNvPr id="15" name="Picture Placeholder 9">
            <a:extLst>
              <a:ext uri="{FF2B5EF4-FFF2-40B4-BE49-F238E27FC236}">
                <a16:creationId xmlns:a16="http://schemas.microsoft.com/office/drawing/2014/main" id="{804F0AEE-FF0D-4201-AC66-DCD0E5C32D58}"/>
              </a:ext>
            </a:extLst>
          </p:cNvPr>
          <p:cNvSpPr>
            <a:spLocks noGrp="1"/>
          </p:cNvSpPr>
          <p:nvPr>
            <p:ph type="pic" sz="quarter" idx="15"/>
          </p:nvPr>
        </p:nvSpPr>
        <p:spPr>
          <a:xfrm>
            <a:off x="3419358" y="4050767"/>
            <a:ext cx="2372627" cy="2372627"/>
          </a:xfrm>
        </p:spPr>
        <p:txBody>
          <a:bodyPr anchor="ctr"/>
          <a:lstStyle>
            <a:lvl1pPr marL="0" indent="0" algn="ctr">
              <a:buNone/>
              <a:defRPr>
                <a:solidFill>
                  <a:schemeClr val="tx1"/>
                </a:solidFill>
              </a:defRPr>
            </a:lvl1pPr>
          </a:lstStyle>
          <a:p>
            <a:endParaRPr lang="en-US"/>
          </a:p>
        </p:txBody>
      </p:sp>
      <p:sp>
        <p:nvSpPr>
          <p:cNvPr id="16" name="Picture Placeholder 9">
            <a:extLst>
              <a:ext uri="{FF2B5EF4-FFF2-40B4-BE49-F238E27FC236}">
                <a16:creationId xmlns:a16="http://schemas.microsoft.com/office/drawing/2014/main" id="{444825B0-1F95-49B8-AB22-7C778BA73943}"/>
              </a:ext>
            </a:extLst>
          </p:cNvPr>
          <p:cNvSpPr>
            <a:spLocks noGrp="1"/>
          </p:cNvSpPr>
          <p:nvPr>
            <p:ph type="pic" sz="quarter" idx="16"/>
          </p:nvPr>
        </p:nvSpPr>
        <p:spPr>
          <a:xfrm>
            <a:off x="6071536" y="4024133"/>
            <a:ext cx="2372627" cy="2372627"/>
          </a:xfrm>
        </p:spPr>
        <p:txBody>
          <a:bodyPr anchor="ctr"/>
          <a:lstStyle>
            <a:lvl1pPr marL="0" indent="0" algn="ctr">
              <a:buNone/>
              <a:defRPr>
                <a:solidFill>
                  <a:schemeClr val="tx1"/>
                </a:solidFill>
              </a:defRPr>
            </a:lvl1pPr>
          </a:lstStyle>
          <a:p>
            <a:endParaRPr lang="en-US"/>
          </a:p>
        </p:txBody>
      </p:sp>
      <p:sp>
        <p:nvSpPr>
          <p:cNvPr id="17" name="Picture Placeholder 9">
            <a:extLst>
              <a:ext uri="{FF2B5EF4-FFF2-40B4-BE49-F238E27FC236}">
                <a16:creationId xmlns:a16="http://schemas.microsoft.com/office/drawing/2014/main" id="{1EAB260F-873F-4E0D-87F3-4267A196E474}"/>
              </a:ext>
            </a:extLst>
          </p:cNvPr>
          <p:cNvSpPr>
            <a:spLocks noGrp="1"/>
          </p:cNvSpPr>
          <p:nvPr>
            <p:ph type="pic" sz="quarter" idx="17"/>
          </p:nvPr>
        </p:nvSpPr>
        <p:spPr>
          <a:xfrm>
            <a:off x="3419358" y="1469607"/>
            <a:ext cx="2372627" cy="2372627"/>
          </a:xfrm>
        </p:spPr>
        <p:txBody>
          <a:bodyPr anchor="ctr"/>
          <a:lstStyle>
            <a:lvl1pPr marL="0" indent="0" algn="ctr">
              <a:buNone/>
              <a:defRPr>
                <a:solidFill>
                  <a:schemeClr val="tx1"/>
                </a:solidFill>
              </a:defRPr>
            </a:lvl1pPr>
          </a:lstStyle>
          <a:p>
            <a:endParaRPr lang="en-US"/>
          </a:p>
        </p:txBody>
      </p:sp>
      <p:sp>
        <p:nvSpPr>
          <p:cNvPr id="18" name="Picture Placeholder 9">
            <a:extLst>
              <a:ext uri="{FF2B5EF4-FFF2-40B4-BE49-F238E27FC236}">
                <a16:creationId xmlns:a16="http://schemas.microsoft.com/office/drawing/2014/main" id="{09F44752-D07C-4843-B70B-160EB1BB5DA2}"/>
              </a:ext>
            </a:extLst>
          </p:cNvPr>
          <p:cNvSpPr>
            <a:spLocks noGrp="1"/>
          </p:cNvSpPr>
          <p:nvPr>
            <p:ph type="pic" sz="quarter" idx="18"/>
          </p:nvPr>
        </p:nvSpPr>
        <p:spPr>
          <a:xfrm>
            <a:off x="8697085" y="4024133"/>
            <a:ext cx="2372627" cy="2372627"/>
          </a:xfrm>
        </p:spPr>
        <p:txBody>
          <a:bodyPr anchor="ctr"/>
          <a:lstStyle>
            <a:lvl1pPr marL="0" indent="0" algn="ctr">
              <a:buNone/>
              <a:defRPr>
                <a:solidFill>
                  <a:schemeClr val="tx1"/>
                </a:solidFill>
              </a:defRPr>
            </a:lvl1pPr>
          </a:lstStyle>
          <a:p>
            <a:endParaRPr lang="en-US"/>
          </a:p>
        </p:txBody>
      </p:sp>
      <p:sp>
        <p:nvSpPr>
          <p:cNvPr id="11" name="Title 1">
            <a:extLst>
              <a:ext uri="{FF2B5EF4-FFF2-40B4-BE49-F238E27FC236}">
                <a16:creationId xmlns:a16="http://schemas.microsoft.com/office/drawing/2014/main" id="{6D87D539-1036-49A2-A147-A856CFD12471}"/>
              </a:ext>
            </a:extLst>
          </p:cNvPr>
          <p:cNvSpPr>
            <a:spLocks noGrp="1"/>
          </p:cNvSpPr>
          <p:nvPr>
            <p:ph type="title" hasCustomPrompt="1"/>
          </p:nvPr>
        </p:nvSpPr>
        <p:spPr>
          <a:xfrm>
            <a:off x="598311" y="515038"/>
            <a:ext cx="9504181" cy="360099"/>
          </a:xfrm>
        </p:spPr>
        <p:txBody>
          <a:bodyPr/>
          <a:lstStyle>
            <a:lvl1pPr>
              <a:defRPr sz="2600"/>
            </a:lvl1pPr>
          </a:lstStyle>
          <a:p>
            <a:r>
              <a:rPr lang="en-US"/>
              <a:t>CLICK TO EDIT MASTER TITLE STYLE</a:t>
            </a:r>
          </a:p>
        </p:txBody>
      </p:sp>
      <p:sp>
        <p:nvSpPr>
          <p:cNvPr id="12" name="Text Placeholder 5">
            <a:extLst>
              <a:ext uri="{FF2B5EF4-FFF2-40B4-BE49-F238E27FC236}">
                <a16:creationId xmlns:a16="http://schemas.microsoft.com/office/drawing/2014/main" id="{2C5E5E08-09CF-4513-BAA2-778E24A43376}"/>
              </a:ext>
            </a:extLst>
          </p:cNvPr>
          <p:cNvSpPr>
            <a:spLocks noGrp="1"/>
          </p:cNvSpPr>
          <p:nvPr>
            <p:ph type="body" sz="quarter" idx="19"/>
          </p:nvPr>
        </p:nvSpPr>
        <p:spPr>
          <a:xfrm>
            <a:off x="598311" y="956993"/>
            <a:ext cx="9368367" cy="276999"/>
          </a:xfrm>
        </p:spPr>
        <p:txBody>
          <a:bodyPr wrap="square" lIns="0" tIns="0" rIns="0" bIns="0">
            <a:spAutoFit/>
          </a:bodyPr>
          <a:lstStyle>
            <a:lvl1pPr marL="0" indent="0" algn="l" defTabSz="914400" rtl="0" eaLnBrk="1" latinLnBrk="0" hangingPunct="1">
              <a:buNone/>
              <a:defRPr lang="en-US" sz="180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en-US"/>
              <a:t>Edit Master text styles</a:t>
            </a:r>
          </a:p>
        </p:txBody>
      </p:sp>
      <p:sp>
        <p:nvSpPr>
          <p:cNvPr id="19" name="Slide Number Placeholder 4">
            <a:extLst>
              <a:ext uri="{FF2B5EF4-FFF2-40B4-BE49-F238E27FC236}">
                <a16:creationId xmlns:a16="http://schemas.microsoft.com/office/drawing/2014/main" id="{E0901D92-D86D-4F82-AE81-6C9D4F07ED55}"/>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Tree>
    <p:extLst>
      <p:ext uri="{BB962C8B-B14F-4D97-AF65-F5344CB8AC3E}">
        <p14:creationId xmlns:p14="http://schemas.microsoft.com/office/powerpoint/2010/main" val="4792633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a:extLst>
              <a:ext uri="{FF2B5EF4-FFF2-40B4-BE49-F238E27FC236}">
                <a16:creationId xmlns:a16="http://schemas.microsoft.com/office/drawing/2014/main" id="{F5D9F016-EDED-4195-B653-2613BEA8D163}"/>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Tree>
    <p:extLst>
      <p:ext uri="{BB962C8B-B14F-4D97-AF65-F5344CB8AC3E}">
        <p14:creationId xmlns:p14="http://schemas.microsoft.com/office/powerpoint/2010/main" val="37841853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2DB9AFE-9933-B647-AC20-DDB72ED58DF5}"/>
              </a:ext>
            </a:extLst>
          </p:cNvPr>
          <p:cNvSpPr/>
          <p:nvPr userDrawn="1"/>
        </p:nvSpPr>
        <p:spPr>
          <a:xfrm>
            <a:off x="8155172" y="0"/>
            <a:ext cx="4036828"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C331DA91-167A-1649-A99E-F5021B7752BC}"/>
              </a:ext>
            </a:extLst>
          </p:cNvPr>
          <p:cNvSpPr/>
          <p:nvPr userDrawn="1"/>
        </p:nvSpPr>
        <p:spPr>
          <a:xfrm>
            <a:off x="349957" y="0"/>
            <a:ext cx="9729708" cy="17823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a:extLst>
              <a:ext uri="{FF2B5EF4-FFF2-40B4-BE49-F238E27FC236}">
                <a16:creationId xmlns:a16="http://schemas.microsoft.com/office/drawing/2014/main" id="{A935F5D1-2A76-7744-A15F-33434EBAA94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945609" y="919536"/>
            <a:ext cx="7400428" cy="5195157"/>
          </a:xfrm>
          <a:prstGeom prst="rect">
            <a:avLst/>
          </a:prstGeom>
        </p:spPr>
      </p:pic>
      <p:sp>
        <p:nvSpPr>
          <p:cNvPr id="18" name="Rectangle 17">
            <a:extLst>
              <a:ext uri="{FF2B5EF4-FFF2-40B4-BE49-F238E27FC236}">
                <a16:creationId xmlns:a16="http://schemas.microsoft.com/office/drawing/2014/main" id="{32B10B5E-9CCB-7549-A2DE-7EABE509336C}"/>
              </a:ext>
            </a:extLst>
          </p:cNvPr>
          <p:cNvSpPr/>
          <p:nvPr userDrawn="1"/>
        </p:nvSpPr>
        <p:spPr>
          <a:xfrm>
            <a:off x="979959" y="1937508"/>
            <a:ext cx="7175213" cy="2985366"/>
          </a:xfrm>
          <a:prstGeom prst="rect">
            <a:avLst/>
          </a:prstGeom>
          <a:solidFill>
            <a:schemeClr val="accent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D0ABD39-8BA2-4D18-B5DA-094A84638B4E}"/>
              </a:ext>
            </a:extLst>
          </p:cNvPr>
          <p:cNvSpPr/>
          <p:nvPr/>
        </p:nvSpPr>
        <p:spPr>
          <a:xfrm>
            <a:off x="1633870" y="3661913"/>
            <a:ext cx="772998"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solidFill>
                <a:prstClr val="white"/>
              </a:solidFill>
            </a:endParaRPr>
          </a:p>
        </p:txBody>
      </p:sp>
      <p:sp>
        <p:nvSpPr>
          <p:cNvPr id="11" name="Title 1">
            <a:extLst>
              <a:ext uri="{FF2B5EF4-FFF2-40B4-BE49-F238E27FC236}">
                <a16:creationId xmlns:a16="http://schemas.microsoft.com/office/drawing/2014/main" id="{001B25EC-AC4B-4956-9605-E7D72AAB25BA}"/>
              </a:ext>
            </a:extLst>
          </p:cNvPr>
          <p:cNvSpPr>
            <a:spLocks noGrp="1"/>
          </p:cNvSpPr>
          <p:nvPr>
            <p:ph type="ctrTitle" hasCustomPrompt="1"/>
          </p:nvPr>
        </p:nvSpPr>
        <p:spPr>
          <a:xfrm>
            <a:off x="1633870" y="2620380"/>
            <a:ext cx="5600700" cy="886397"/>
          </a:xfrm>
        </p:spPr>
        <p:txBody>
          <a:bodyPr anchor="b"/>
          <a:lstStyle>
            <a:lvl1pPr marL="0" algn="l" defTabSz="914400" rtl="0" eaLnBrk="1" latinLnBrk="0" hangingPunct="1">
              <a:defRPr lang="en-US" sz="3200" b="0" kern="1200" dirty="0">
                <a:solidFill>
                  <a:schemeClr val="bg1"/>
                </a:solidFill>
                <a:latin typeface="+mj-lt"/>
                <a:ea typeface="+mn-ea"/>
                <a:cs typeface="+mn-cs"/>
              </a:defRPr>
            </a:lvl1pPr>
          </a:lstStyle>
          <a:p>
            <a:r>
              <a:rPr lang="en-US"/>
              <a:t>CLICK TO EDIT MASTER TITLE STYLE</a:t>
            </a:r>
          </a:p>
        </p:txBody>
      </p:sp>
      <p:sp>
        <p:nvSpPr>
          <p:cNvPr id="12" name="Subtitle 2">
            <a:extLst>
              <a:ext uri="{FF2B5EF4-FFF2-40B4-BE49-F238E27FC236}">
                <a16:creationId xmlns:a16="http://schemas.microsoft.com/office/drawing/2014/main" id="{4DB02C63-3224-414E-AF94-8FC8B33968F0}"/>
              </a:ext>
            </a:extLst>
          </p:cNvPr>
          <p:cNvSpPr>
            <a:spLocks noGrp="1"/>
          </p:cNvSpPr>
          <p:nvPr>
            <p:ph type="subTitle" idx="1" hasCustomPrompt="1"/>
          </p:nvPr>
        </p:nvSpPr>
        <p:spPr>
          <a:xfrm>
            <a:off x="1633870" y="3847177"/>
            <a:ext cx="5600700" cy="276999"/>
          </a:xfrm>
        </p:spPr>
        <p:txBody>
          <a:bodyPr wrap="square" lIns="0" tIns="0" rIns="0" bIns="0">
            <a:spAutoFit/>
          </a:bodyPr>
          <a:lstStyle>
            <a:lvl1pPr marL="0" indent="0" algn="l" defTabSz="914400" rtl="0" eaLnBrk="1" latinLnBrk="0" hangingPunct="1">
              <a:buNone/>
              <a:defRPr lang="en-US" sz="1800" kern="120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Rectangle 9">
            <a:extLst>
              <a:ext uri="{FF2B5EF4-FFF2-40B4-BE49-F238E27FC236}">
                <a16:creationId xmlns:a16="http://schemas.microsoft.com/office/drawing/2014/main" id="{860267C8-6997-FC47-B565-CA320471BF68}"/>
              </a:ext>
            </a:extLst>
          </p:cNvPr>
          <p:cNvSpPr/>
          <p:nvPr userDrawn="1"/>
        </p:nvSpPr>
        <p:spPr>
          <a:xfrm>
            <a:off x="-19010" y="5757332"/>
            <a:ext cx="2873046" cy="1100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lotus_alvogen_logos-01.png">
            <a:extLst>
              <a:ext uri="{FF2B5EF4-FFF2-40B4-BE49-F238E27FC236}">
                <a16:creationId xmlns:a16="http://schemas.microsoft.com/office/drawing/2014/main" id="{D598174E-A573-438D-8880-F1D1424EEEB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167" t="32431" r="11163" b="23811"/>
          <a:stretch/>
        </p:blipFill>
        <p:spPr>
          <a:xfrm>
            <a:off x="1117284" y="1196538"/>
            <a:ext cx="1588552" cy="489587"/>
          </a:xfrm>
          <a:prstGeom prst="rect">
            <a:avLst/>
          </a:prstGeom>
        </p:spPr>
      </p:pic>
    </p:spTree>
    <p:extLst>
      <p:ext uri="{BB962C8B-B14F-4D97-AF65-F5344CB8AC3E}">
        <p14:creationId xmlns:p14="http://schemas.microsoft.com/office/powerpoint/2010/main" val="24692932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hapter slide 5">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FA55E85-9A3C-4162-810D-39183CF90C9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0972800" cy="6858000"/>
          </a:xfrm>
          <a:prstGeom prst="rect">
            <a:avLst/>
          </a:prstGeom>
        </p:spPr>
      </p:pic>
      <p:sp>
        <p:nvSpPr>
          <p:cNvPr id="10" name="Rectangle 9">
            <a:extLst>
              <a:ext uri="{FF2B5EF4-FFF2-40B4-BE49-F238E27FC236}">
                <a16:creationId xmlns:a16="http://schemas.microsoft.com/office/drawing/2014/main" id="{70CFB5C2-F998-4009-B0A6-C8FCC63EF429}"/>
              </a:ext>
            </a:extLst>
          </p:cNvPr>
          <p:cNvSpPr/>
          <p:nvPr userDrawn="1"/>
        </p:nvSpPr>
        <p:spPr>
          <a:xfrm>
            <a:off x="2192" y="6356351"/>
            <a:ext cx="12192000" cy="5016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pic>
        <p:nvPicPr>
          <p:cNvPr id="14" name="Picture 13">
            <a:extLst>
              <a:ext uri="{FF2B5EF4-FFF2-40B4-BE49-F238E27FC236}">
                <a16:creationId xmlns:a16="http://schemas.microsoft.com/office/drawing/2014/main" id="{6B299365-F412-4540-8869-00A42803E93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99447" y="6412755"/>
            <a:ext cx="1296244" cy="362504"/>
          </a:xfrm>
          <a:prstGeom prst="rect">
            <a:avLst/>
          </a:prstGeom>
        </p:spPr>
      </p:pic>
      <p:sp>
        <p:nvSpPr>
          <p:cNvPr id="12" name="Rectangle 11">
            <a:extLst>
              <a:ext uri="{FF2B5EF4-FFF2-40B4-BE49-F238E27FC236}">
                <a16:creationId xmlns:a16="http://schemas.microsoft.com/office/drawing/2014/main" id="{CF4AEFE5-C1A0-48F4-AB21-CFD06D875BC3}"/>
              </a:ext>
            </a:extLst>
          </p:cNvPr>
          <p:cNvSpPr/>
          <p:nvPr userDrawn="1"/>
        </p:nvSpPr>
        <p:spPr>
          <a:xfrm>
            <a:off x="4546600" y="2276474"/>
            <a:ext cx="6807200" cy="2795999"/>
          </a:xfrm>
          <a:prstGeom prst="rect">
            <a:avLst/>
          </a:prstGeom>
          <a:solidFill>
            <a:schemeClr val="bg1">
              <a:lumMod val="9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
        <p:nvSpPr>
          <p:cNvPr id="13" name="Rectangle 12">
            <a:extLst>
              <a:ext uri="{FF2B5EF4-FFF2-40B4-BE49-F238E27FC236}">
                <a16:creationId xmlns:a16="http://schemas.microsoft.com/office/drawing/2014/main" id="{EB7091E4-C1C9-4B57-8DFB-1FFDA8C79417}"/>
              </a:ext>
            </a:extLst>
          </p:cNvPr>
          <p:cNvSpPr/>
          <p:nvPr userDrawn="1"/>
        </p:nvSpPr>
        <p:spPr>
          <a:xfrm>
            <a:off x="10082781" y="4225459"/>
            <a:ext cx="772998"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Title 1">
            <a:extLst>
              <a:ext uri="{FF2B5EF4-FFF2-40B4-BE49-F238E27FC236}">
                <a16:creationId xmlns:a16="http://schemas.microsoft.com/office/drawing/2014/main" id="{C668FAE4-095A-4821-8E5A-B46C944D1FE3}"/>
              </a:ext>
            </a:extLst>
          </p:cNvPr>
          <p:cNvSpPr>
            <a:spLocks noGrp="1"/>
          </p:cNvSpPr>
          <p:nvPr>
            <p:ph type="ctrTitle" hasCustomPrompt="1"/>
          </p:nvPr>
        </p:nvSpPr>
        <p:spPr>
          <a:xfrm>
            <a:off x="5255079" y="2938058"/>
            <a:ext cx="5600700" cy="1107996"/>
          </a:xfrm>
        </p:spPr>
        <p:txBody>
          <a:bodyPr anchor="b"/>
          <a:lstStyle>
            <a:lvl1pPr marL="0" algn="r" defTabSz="914400" rtl="0" eaLnBrk="1" latinLnBrk="0" hangingPunct="1">
              <a:defRPr lang="en-US" sz="4000" b="1" kern="1200" dirty="0">
                <a:solidFill>
                  <a:schemeClr val="tx1"/>
                </a:solidFill>
                <a:latin typeface="+mj-lt"/>
                <a:ea typeface="+mn-ea"/>
                <a:cs typeface="+mn-cs"/>
              </a:defRPr>
            </a:lvl1pPr>
          </a:lstStyle>
          <a:p>
            <a:r>
              <a:rPr lang="en-US"/>
              <a:t>CLICK TO EDIT MASTER TITLE STYLE</a:t>
            </a:r>
          </a:p>
        </p:txBody>
      </p:sp>
      <p:sp>
        <p:nvSpPr>
          <p:cNvPr id="16" name="Subtitle 2">
            <a:extLst>
              <a:ext uri="{FF2B5EF4-FFF2-40B4-BE49-F238E27FC236}">
                <a16:creationId xmlns:a16="http://schemas.microsoft.com/office/drawing/2014/main" id="{B913D719-5F8A-4074-AB76-C3BF1E8CA286}"/>
              </a:ext>
            </a:extLst>
          </p:cNvPr>
          <p:cNvSpPr>
            <a:spLocks noGrp="1"/>
          </p:cNvSpPr>
          <p:nvPr>
            <p:ph type="subTitle" idx="1" hasCustomPrompt="1"/>
          </p:nvPr>
        </p:nvSpPr>
        <p:spPr>
          <a:xfrm>
            <a:off x="5255079" y="4411787"/>
            <a:ext cx="5600700" cy="294953"/>
          </a:xfrm>
        </p:spPr>
        <p:txBody>
          <a:bodyPr wrap="square" lIns="0" tIns="0" rIns="0" bIns="0">
            <a:spAutoFit/>
          </a:bodyPr>
          <a:lstStyle>
            <a:lvl1pPr marL="0" indent="0" algn="r" defTabSz="914400" rtl="0" eaLnBrk="1" latinLnBrk="0" hangingPunct="1">
              <a:lnSpc>
                <a:spcPts val="2300"/>
              </a:lnSpc>
              <a:buNone/>
              <a:defRPr lang="en-US" sz="1800" kern="1200" dirty="0">
                <a:solidFill>
                  <a:schemeClr val="tx1"/>
                </a:solidFill>
                <a:latin typeface="+mj-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Slide Number Placeholder 5">
            <a:extLst>
              <a:ext uri="{FF2B5EF4-FFF2-40B4-BE49-F238E27FC236}">
                <a16:creationId xmlns:a16="http://schemas.microsoft.com/office/drawing/2014/main" id="{698A95F5-BEE2-4F15-8D58-3CA594747F30}"/>
              </a:ext>
            </a:extLst>
          </p:cNvPr>
          <p:cNvSpPr>
            <a:spLocks noGrp="1"/>
          </p:cNvSpPr>
          <p:nvPr>
            <p:ph type="sldNum" sz="quarter" idx="12"/>
          </p:nvPr>
        </p:nvSpPr>
        <p:spPr>
          <a:xfrm>
            <a:off x="10767000" y="-1"/>
            <a:ext cx="586800" cy="586800"/>
          </a:xfrm>
          <a:solidFill>
            <a:schemeClr val="accent1"/>
          </a:solidFill>
        </p:spPr>
        <p:txBody>
          <a:bodyPr/>
          <a:lstStyle>
            <a:lvl1pPr>
              <a:defRPr>
                <a:solidFill>
                  <a:schemeClr val="tx1"/>
                </a:solidFill>
              </a:defRPr>
            </a:lvl1pPr>
          </a:lstStyle>
          <a:p>
            <a:fld id="{4C0C40C3-3CCF-4B11-80C9-BCC62D2234EE}" type="slidenum">
              <a:rPr lang="en-US" smtClean="0"/>
              <a:pPr/>
              <a:t>‹#›</a:t>
            </a:fld>
            <a:endParaRPr lang="en-US"/>
          </a:p>
        </p:txBody>
      </p:sp>
    </p:spTree>
    <p:extLst>
      <p:ext uri="{BB962C8B-B14F-4D97-AF65-F5344CB8AC3E}">
        <p14:creationId xmlns:p14="http://schemas.microsoft.com/office/powerpoint/2010/main" val="22947893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C0C40C3-3CCF-4B11-80C9-BCC62D2234EE}" type="slidenum">
              <a:rPr lang="en-US" smtClean="0"/>
              <a:t>‹#›</a:t>
            </a:fld>
            <a:endParaRPr lang="en-US"/>
          </a:p>
        </p:txBody>
      </p:sp>
    </p:spTree>
    <p:extLst>
      <p:ext uri="{BB962C8B-B14F-4D97-AF65-F5344CB8AC3E}">
        <p14:creationId xmlns:p14="http://schemas.microsoft.com/office/powerpoint/2010/main" val="12217375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8311" y="794446"/>
            <a:ext cx="9504181" cy="360099"/>
          </a:xfrm>
        </p:spPr>
        <p:txBody>
          <a:bodyPr/>
          <a:lstStyle>
            <a:lvl1pPr>
              <a:defRPr sz="2600"/>
            </a:lvl1pPr>
          </a:lstStyle>
          <a:p>
            <a:r>
              <a:rPr lang="en-US"/>
              <a:t>CLICK TO EDIT MASTER TITLE STYLE</a:t>
            </a:r>
          </a:p>
        </p:txBody>
      </p:sp>
      <p:sp>
        <p:nvSpPr>
          <p:cNvPr id="3" name="Content Placeholder 2"/>
          <p:cNvSpPr>
            <a:spLocks noGrp="1"/>
          </p:cNvSpPr>
          <p:nvPr>
            <p:ph sz="half" idx="1"/>
          </p:nvPr>
        </p:nvSpPr>
        <p:spPr>
          <a:xfrm>
            <a:off x="598311" y="1604865"/>
            <a:ext cx="5421489" cy="4572098"/>
          </a:xfrm>
        </p:spPr>
        <p:txBody>
          <a:bodyPr lIns="0" tIns="0" rIns="0" bIns="0"/>
          <a:lstStyle>
            <a:lvl1pPr>
              <a:spcBef>
                <a:spcPts val="1000"/>
              </a:spcBef>
              <a:defRPr/>
            </a:lvl1pPr>
            <a:lvl2pPr>
              <a:spcBef>
                <a:spcPts val="1000"/>
              </a:spcBef>
              <a:defRPr/>
            </a:lvl2pPr>
            <a:lvl3pPr>
              <a:spcBef>
                <a:spcPts val="1000"/>
              </a:spcBef>
              <a:defRPr/>
            </a:lvl3pPr>
            <a:lvl4pPr>
              <a:spcBef>
                <a:spcPts val="1000"/>
              </a:spcBef>
              <a:defRPr/>
            </a:lvl4pPr>
            <a:lvl5pPr>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2" y="1604865"/>
            <a:ext cx="5181598" cy="4572098"/>
          </a:xfrm>
        </p:spPr>
        <p:txBody>
          <a:bodyPr lIns="0" tIns="0" rIns="0" bIns="0"/>
          <a:lstStyle>
            <a:lvl1pPr>
              <a:spcBef>
                <a:spcPts val="1000"/>
              </a:spcBef>
              <a:defRPr/>
            </a:lvl1pPr>
            <a:lvl2pPr>
              <a:spcBef>
                <a:spcPts val="1000"/>
              </a:spcBef>
              <a:defRPr/>
            </a:lvl2pPr>
            <a:lvl3pPr>
              <a:spcBef>
                <a:spcPts val="1000"/>
              </a:spcBef>
              <a:defRPr/>
            </a:lvl3pPr>
            <a:lvl4pPr>
              <a:spcBef>
                <a:spcPts val="1000"/>
              </a:spcBef>
              <a:defRPr/>
            </a:lvl4pPr>
            <a:lvl5pPr>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4">
            <a:extLst>
              <a:ext uri="{FF2B5EF4-FFF2-40B4-BE49-F238E27FC236}">
                <a16:creationId xmlns:a16="http://schemas.microsoft.com/office/drawing/2014/main" id="{423858A4-03C7-CE41-8916-C47FD19E2E6A}"/>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Tree>
    <p:extLst>
      <p:ext uri="{BB962C8B-B14F-4D97-AF65-F5344CB8AC3E}">
        <p14:creationId xmlns:p14="http://schemas.microsoft.com/office/powerpoint/2010/main" val="18742374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7EFF7F3-CAD3-4FA3-BF59-06935775E0C2}"/>
              </a:ext>
            </a:extLst>
          </p:cNvPr>
          <p:cNvSpPr>
            <a:spLocks noGrp="1"/>
          </p:cNvSpPr>
          <p:nvPr>
            <p:ph type="body" sz="quarter" idx="13"/>
          </p:nvPr>
        </p:nvSpPr>
        <p:spPr>
          <a:xfrm>
            <a:off x="588339" y="1788167"/>
            <a:ext cx="9368367" cy="4223113"/>
          </a:xfrm>
        </p:spPr>
        <p:txBody>
          <a:bodyPr/>
          <a:lstStyle>
            <a:lvl1pPr>
              <a:lnSpc>
                <a:spcPct val="100000"/>
              </a:lnSpc>
              <a:spcBef>
                <a:spcPts val="1000"/>
              </a:spcBef>
              <a:defRPr/>
            </a:lvl1pPr>
            <a:lvl2pPr>
              <a:lnSpc>
                <a:spcPct val="100000"/>
              </a:lnSpc>
              <a:spcBef>
                <a:spcPts val="1000"/>
              </a:spcBef>
              <a:defRPr/>
            </a:lvl2pPr>
            <a:lvl3pPr>
              <a:lnSpc>
                <a:spcPct val="100000"/>
              </a:lnSpc>
              <a:spcBef>
                <a:spcPts val="1000"/>
              </a:spcBef>
              <a:defRPr/>
            </a:lvl3pPr>
            <a:lvl4pPr>
              <a:lnSpc>
                <a:spcPct val="100000"/>
              </a:lnSpc>
              <a:spcBef>
                <a:spcPts val="1000"/>
              </a:spcBef>
              <a:defRPr/>
            </a:lvl4pPr>
            <a:lvl5pPr>
              <a:lnSpc>
                <a:spcPct val="100000"/>
              </a:lnSpc>
              <a:spcBef>
                <a:spcPts val="10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4">
            <a:extLst>
              <a:ext uri="{FF2B5EF4-FFF2-40B4-BE49-F238E27FC236}">
                <a16:creationId xmlns:a16="http://schemas.microsoft.com/office/drawing/2014/main" id="{AAC2DF15-CA86-294D-BCD6-72987179A417}"/>
              </a:ext>
            </a:extLst>
          </p:cNvPr>
          <p:cNvSpPr>
            <a:spLocks noGrp="1"/>
          </p:cNvSpPr>
          <p:nvPr>
            <p:ph type="sldNum" sz="quarter" idx="4"/>
          </p:nvPr>
        </p:nvSpPr>
        <p:spPr>
          <a:xfrm>
            <a:off x="11119557" y="6011280"/>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9" name="Title 1">
            <a:extLst>
              <a:ext uri="{FF2B5EF4-FFF2-40B4-BE49-F238E27FC236}">
                <a16:creationId xmlns:a16="http://schemas.microsoft.com/office/drawing/2014/main" id="{C08EE013-9F2A-4043-8418-084534F4EB2F}"/>
              </a:ext>
            </a:extLst>
          </p:cNvPr>
          <p:cNvSpPr>
            <a:spLocks noGrp="1"/>
          </p:cNvSpPr>
          <p:nvPr>
            <p:ph type="title" hasCustomPrompt="1"/>
          </p:nvPr>
        </p:nvSpPr>
        <p:spPr>
          <a:xfrm>
            <a:off x="598311" y="795528"/>
            <a:ext cx="9504181" cy="360099"/>
          </a:xfrm>
        </p:spPr>
        <p:txBody>
          <a:bodyPr/>
          <a:lstStyle>
            <a:lvl1pPr>
              <a:defRPr sz="2600"/>
            </a:lvl1pPr>
          </a:lstStyle>
          <a:p>
            <a:r>
              <a:rPr lang="en-US"/>
              <a:t>CLICK TO EDIT MASTER TITLE STYLE</a:t>
            </a:r>
          </a:p>
        </p:txBody>
      </p:sp>
    </p:spTree>
    <p:extLst>
      <p:ext uri="{BB962C8B-B14F-4D97-AF65-F5344CB8AC3E}">
        <p14:creationId xmlns:p14="http://schemas.microsoft.com/office/powerpoint/2010/main" val="35698484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30E26-A86A-417A-AA64-699AA8DD3DA5}"/>
              </a:ext>
            </a:extLst>
          </p:cNvPr>
          <p:cNvSpPr>
            <a:spLocks noGrp="1"/>
          </p:cNvSpPr>
          <p:nvPr>
            <p:ph type="title"/>
          </p:nvPr>
        </p:nvSpPr>
        <p:spPr/>
        <p:txBody>
          <a:bodyPr>
            <a:normAutofit/>
          </a:bodyPr>
          <a:lstStyle>
            <a:lvl1pPr>
              <a:defRPr sz="4000"/>
            </a:lvl1pPr>
          </a:lstStyle>
          <a:p>
            <a:r>
              <a:rPr lang="en-US"/>
              <a:t>Click to edit Master title style</a:t>
            </a:r>
          </a:p>
        </p:txBody>
      </p:sp>
      <p:sp>
        <p:nvSpPr>
          <p:cNvPr id="3" name="Content Placeholder 2">
            <a:extLst>
              <a:ext uri="{FF2B5EF4-FFF2-40B4-BE49-F238E27FC236}">
                <a16:creationId xmlns:a16="http://schemas.microsoft.com/office/drawing/2014/main" id="{D19CF97E-0E6E-41E9-B75B-0371E744D1E8}"/>
              </a:ext>
            </a:extLst>
          </p:cNvPr>
          <p:cNvSpPr>
            <a:spLocks noGrp="1"/>
          </p:cNvSpPr>
          <p:nvPr>
            <p:ph idx="1"/>
          </p:nvPr>
        </p:nvSpPr>
        <p:spPr>
          <a:xfrm>
            <a:off x="838200" y="2011680"/>
            <a:ext cx="10515600" cy="4160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063428F0-E5C2-42A1-AB2F-1A19FFAD19CF}"/>
              </a:ext>
            </a:extLst>
          </p:cNvPr>
          <p:cNvSpPr>
            <a:spLocks noGrp="1"/>
          </p:cNvSpPr>
          <p:nvPr>
            <p:ph type="sldNum" sz="quarter" idx="12"/>
          </p:nvPr>
        </p:nvSpPr>
        <p:spPr/>
        <p:txBody>
          <a:bodyPr/>
          <a:lstStyle/>
          <a:p>
            <a:fld id="{51845F5A-061D-4825-9AE9-D7794091C6CF}" type="slidenum">
              <a:rPr lang="en-US" smtClean="0"/>
              <a:t>‹#›</a:t>
            </a:fld>
            <a:endParaRPr lang="en-US"/>
          </a:p>
        </p:txBody>
      </p:sp>
      <p:pic>
        <p:nvPicPr>
          <p:cNvPr id="8" name="Picture 7">
            <a:extLst>
              <a:ext uri="{FF2B5EF4-FFF2-40B4-BE49-F238E27FC236}">
                <a16:creationId xmlns:a16="http://schemas.microsoft.com/office/drawing/2014/main" id="{3BE9F423-5994-419E-E2C1-F302B8F5BA0B}"/>
              </a:ext>
            </a:extLst>
          </p:cNvPr>
          <p:cNvPicPr>
            <a:picLocks noChangeAspect="1"/>
          </p:cNvPicPr>
          <p:nvPr userDrawn="1"/>
        </p:nvPicPr>
        <p:blipFill>
          <a:blip r:embed="rId2"/>
          <a:stretch>
            <a:fillRect/>
          </a:stretch>
        </p:blipFill>
        <p:spPr>
          <a:xfrm>
            <a:off x="9620318" y="1"/>
            <a:ext cx="2571681" cy="1367405"/>
          </a:xfrm>
          <a:prstGeom prst="rect">
            <a:avLst/>
          </a:prstGeom>
        </p:spPr>
      </p:pic>
    </p:spTree>
    <p:extLst>
      <p:ext uri="{BB962C8B-B14F-4D97-AF65-F5344CB8AC3E}">
        <p14:creationId xmlns:p14="http://schemas.microsoft.com/office/powerpoint/2010/main" val="6054487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Graphic 1" descr="Tag=AccentColor&#10;Flavor=Light&#10;Target=Fill">
            <a:extLst>
              <a:ext uri="{FF2B5EF4-FFF2-40B4-BE49-F238E27FC236}">
                <a16:creationId xmlns:a16="http://schemas.microsoft.com/office/drawing/2014/main" id="{0D57E7FA-E8FC-45AC-868F-CDC8144939D6}"/>
              </a:ext>
            </a:extLst>
          </p:cNvPr>
          <p:cNvSpPr/>
          <p:nvPr/>
        </p:nvSpPr>
        <p:spPr>
          <a:xfrm rot="10800000" flipV="1">
            <a:off x="2599854" y="527562"/>
            <a:ext cx="6992292" cy="5102484"/>
          </a:xfrm>
          <a:custGeom>
            <a:avLst/>
            <a:gdLst>
              <a:gd name="connsiteX0" fmla="*/ 5458905 w 6886274"/>
              <a:gd name="connsiteY0" fmla="*/ 754119 h 5025119"/>
              <a:gd name="connsiteX1" fmla="*/ 3455557 w 6886274"/>
              <a:gd name="connsiteY1" fmla="*/ 1027709 h 5025119"/>
              <a:gd name="connsiteX2" fmla="*/ 3338677 w 6886274"/>
              <a:gd name="connsiteY2" fmla="*/ 1021381 h 5025119"/>
              <a:gd name="connsiteX3" fmla="*/ 2518280 w 6886274"/>
              <a:gd name="connsiteY3" fmla="*/ 980435 h 5025119"/>
              <a:gd name="connsiteX4" fmla="*/ 1673687 w 6886274"/>
              <a:gd name="connsiteY4" fmla="*/ 739229 h 5025119"/>
              <a:gd name="connsiteX5" fmla="*/ 1183459 w 6886274"/>
              <a:gd name="connsiteY5" fmla="*/ 397149 h 5025119"/>
              <a:gd name="connsiteX6" fmla="*/ 977987 w 6886274"/>
              <a:gd name="connsiteY6" fmla="*/ 241184 h 5025119"/>
              <a:gd name="connsiteX7" fmla="*/ 788150 w 6886274"/>
              <a:gd name="connsiteY7" fmla="*/ 66980 h 5025119"/>
              <a:gd name="connsiteX8" fmla="*/ 721148 w 6886274"/>
              <a:gd name="connsiteY8" fmla="*/ 31990 h 5025119"/>
              <a:gd name="connsiteX9" fmla="*/ 701792 w 6886274"/>
              <a:gd name="connsiteY9" fmla="*/ 32362 h 5025119"/>
              <a:gd name="connsiteX10" fmla="*/ 686530 w 6886274"/>
              <a:gd name="connsiteY10" fmla="*/ 43157 h 5025119"/>
              <a:gd name="connsiteX11" fmla="*/ 693603 w 6886274"/>
              <a:gd name="connsiteY11" fmla="*/ 58046 h 5025119"/>
              <a:gd name="connsiteX12" fmla="*/ 705886 w 6886274"/>
              <a:gd name="connsiteY12" fmla="*/ 65491 h 5025119"/>
              <a:gd name="connsiteX13" fmla="*/ 762838 w 6886274"/>
              <a:gd name="connsiteY13" fmla="*/ 112764 h 5025119"/>
              <a:gd name="connsiteX14" fmla="*/ 764327 w 6886274"/>
              <a:gd name="connsiteY14" fmla="*/ 140309 h 5025119"/>
              <a:gd name="connsiteX15" fmla="*/ 775121 w 6886274"/>
              <a:gd name="connsiteY15" fmla="*/ 159666 h 5025119"/>
              <a:gd name="connsiteX16" fmla="*/ 823139 w 6886274"/>
              <a:gd name="connsiteY16" fmla="*/ 176416 h 5025119"/>
              <a:gd name="connsiteX17" fmla="*/ 707748 w 6886274"/>
              <a:gd name="connsiteY17" fmla="*/ 109414 h 5025119"/>
              <a:gd name="connsiteX18" fmla="*/ 681319 w 6886274"/>
              <a:gd name="connsiteY18" fmla="*/ 69958 h 5025119"/>
              <a:gd name="connsiteX19" fmla="*/ 640746 w 6886274"/>
              <a:gd name="connsiteY19" fmla="*/ 67352 h 5025119"/>
              <a:gd name="connsiteX20" fmla="*/ 614318 w 6886274"/>
              <a:gd name="connsiteY20" fmla="*/ 61396 h 5025119"/>
              <a:gd name="connsiteX21" fmla="*/ 560716 w 6886274"/>
              <a:gd name="connsiteY21" fmla="*/ 3701 h 5025119"/>
              <a:gd name="connsiteX22" fmla="*/ 540616 w 6886274"/>
              <a:gd name="connsiteY22" fmla="*/ 3701 h 5025119"/>
              <a:gd name="connsiteX23" fmla="*/ 543594 w 6886274"/>
              <a:gd name="connsiteY23" fmla="*/ 21940 h 5025119"/>
              <a:gd name="connsiteX24" fmla="*/ 558855 w 6886274"/>
              <a:gd name="connsiteY24" fmla="*/ 51346 h 5025119"/>
              <a:gd name="connsiteX25" fmla="*/ 557366 w 6886274"/>
              <a:gd name="connsiteY25" fmla="*/ 72563 h 5025119"/>
              <a:gd name="connsiteX26" fmla="*/ 570022 w 6886274"/>
              <a:gd name="connsiteY26" fmla="*/ 120209 h 5025119"/>
              <a:gd name="connsiteX27" fmla="*/ 599801 w 6886274"/>
              <a:gd name="connsiteY27" fmla="*/ 192794 h 5025119"/>
              <a:gd name="connsiteX28" fmla="*/ 614318 w 6886274"/>
              <a:gd name="connsiteY28" fmla="*/ 212150 h 5025119"/>
              <a:gd name="connsiteX29" fmla="*/ 623996 w 6886274"/>
              <a:gd name="connsiteY29" fmla="*/ 220711 h 5025119"/>
              <a:gd name="connsiteX30" fmla="*/ 821278 w 6886274"/>
              <a:gd name="connsiteY30" fmla="*/ 503235 h 5025119"/>
              <a:gd name="connsiteX31" fmla="*/ 1033822 w 6886274"/>
              <a:gd name="connsiteY31" fmla="*/ 694562 h 5025119"/>
              <a:gd name="connsiteX32" fmla="*/ 1039406 w 6886274"/>
              <a:gd name="connsiteY32" fmla="*/ 702378 h 5025119"/>
              <a:gd name="connsiteX33" fmla="*/ 944114 w 6886274"/>
              <a:gd name="connsiteY33" fmla="*/ 662550 h 5025119"/>
              <a:gd name="connsiteX34" fmla="*/ 733432 w 6886274"/>
              <a:gd name="connsiteY34" fmla="*/ 500629 h 5025119"/>
              <a:gd name="connsiteX35" fmla="*/ 606501 w 6886274"/>
              <a:gd name="connsiteY35" fmla="*/ 399755 h 5025119"/>
              <a:gd name="connsiteX36" fmla="*/ 588634 w 6886274"/>
              <a:gd name="connsiteY36" fmla="*/ 381143 h 5025119"/>
              <a:gd name="connsiteX37" fmla="*/ 575978 w 6886274"/>
              <a:gd name="connsiteY37" fmla="*/ 375560 h 5025119"/>
              <a:gd name="connsiteX38" fmla="*/ 567044 w 6886274"/>
              <a:gd name="connsiteY38" fmla="*/ 388588 h 5025119"/>
              <a:gd name="connsiteX39" fmla="*/ 578956 w 6886274"/>
              <a:gd name="connsiteY39" fmla="*/ 437722 h 5025119"/>
              <a:gd name="connsiteX40" fmla="*/ 675736 w 6886274"/>
              <a:gd name="connsiteY40" fmla="*/ 535619 h 5025119"/>
              <a:gd name="connsiteX41" fmla="*/ 811600 w 6886274"/>
              <a:gd name="connsiteY41" fmla="*/ 652872 h 5025119"/>
              <a:gd name="connsiteX42" fmla="*/ 818300 w 6886274"/>
              <a:gd name="connsiteY42" fmla="*/ 666272 h 5025119"/>
              <a:gd name="connsiteX43" fmla="*/ 741621 w 6886274"/>
              <a:gd name="connsiteY43" fmla="*/ 608576 h 5025119"/>
              <a:gd name="connsiteX44" fmla="*/ 666430 w 6886274"/>
              <a:gd name="connsiteY44" fmla="*/ 553114 h 5025119"/>
              <a:gd name="connsiteX45" fmla="*/ 645585 w 6886274"/>
              <a:gd name="connsiteY45" fmla="*/ 547903 h 5025119"/>
              <a:gd name="connsiteX46" fmla="*/ 640002 w 6886274"/>
              <a:gd name="connsiteY46" fmla="*/ 570236 h 5025119"/>
              <a:gd name="connsiteX47" fmla="*/ 675736 w 6886274"/>
              <a:gd name="connsiteY47" fmla="*/ 628677 h 5025119"/>
              <a:gd name="connsiteX48" fmla="*/ 855896 w 6886274"/>
              <a:gd name="connsiteY48" fmla="*/ 786875 h 5025119"/>
              <a:gd name="connsiteX49" fmla="*/ 946348 w 6886274"/>
              <a:gd name="connsiteY49" fmla="*/ 877699 h 5025119"/>
              <a:gd name="connsiteX50" fmla="*/ 950442 w 6886274"/>
              <a:gd name="connsiteY50" fmla="*/ 899661 h 5025119"/>
              <a:gd name="connsiteX51" fmla="*/ 991760 w 6886274"/>
              <a:gd name="connsiteY51" fmla="*/ 937629 h 5025119"/>
              <a:gd name="connsiteX52" fmla="*/ 1018188 w 6886274"/>
              <a:gd name="connsiteY52" fmla="*/ 945445 h 5025119"/>
              <a:gd name="connsiteX53" fmla="*/ 1315601 w 6886274"/>
              <a:gd name="connsiteY53" fmla="*/ 1196329 h 5025119"/>
              <a:gd name="connsiteX54" fmla="*/ 1454443 w 6886274"/>
              <a:gd name="connsiteY54" fmla="*/ 1279709 h 5025119"/>
              <a:gd name="connsiteX55" fmla="*/ 1454443 w 6886274"/>
              <a:gd name="connsiteY55" fmla="*/ 1285665 h 5025119"/>
              <a:gd name="connsiteX56" fmla="*/ 1453327 w 6886274"/>
              <a:gd name="connsiteY56" fmla="*/ 1291993 h 5025119"/>
              <a:gd name="connsiteX57" fmla="*/ 1256416 w 6886274"/>
              <a:gd name="connsiteY57" fmla="*/ 1166923 h 5025119"/>
              <a:gd name="connsiteX58" fmla="*/ 745715 w 6886274"/>
              <a:gd name="connsiteY58" fmla="*/ 798786 h 5025119"/>
              <a:gd name="connsiteX59" fmla="*/ 592356 w 6886274"/>
              <a:gd name="connsiteY59" fmla="*/ 656966 h 5025119"/>
              <a:gd name="connsiteX60" fmla="*/ 485526 w 6886274"/>
              <a:gd name="connsiteY60" fmla="*/ 567259 h 5025119"/>
              <a:gd name="connsiteX61" fmla="*/ 430063 w 6886274"/>
              <a:gd name="connsiteY61" fmla="*/ 550136 h 5025119"/>
              <a:gd name="connsiteX62" fmla="*/ 408846 w 6886274"/>
              <a:gd name="connsiteY62" fmla="*/ 563164 h 5025119"/>
              <a:gd name="connsiteX63" fmla="*/ 421130 w 6886274"/>
              <a:gd name="connsiteY63" fmla="*/ 581403 h 5025119"/>
              <a:gd name="connsiteX64" fmla="*/ 426713 w 6886274"/>
              <a:gd name="connsiteY64" fmla="*/ 584009 h 5025119"/>
              <a:gd name="connsiteX65" fmla="*/ 487015 w 6886274"/>
              <a:gd name="connsiteY65" fmla="*/ 635005 h 5025119"/>
              <a:gd name="connsiteX66" fmla="*/ 487015 w 6886274"/>
              <a:gd name="connsiteY66" fmla="*/ 655105 h 5025119"/>
              <a:gd name="connsiteX67" fmla="*/ 497437 w 6886274"/>
              <a:gd name="connsiteY67" fmla="*/ 678183 h 5025119"/>
              <a:gd name="connsiteX68" fmla="*/ 539871 w 6886274"/>
              <a:gd name="connsiteY68" fmla="*/ 691584 h 5025119"/>
              <a:gd name="connsiteX69" fmla="*/ 485898 w 6886274"/>
              <a:gd name="connsiteY69" fmla="*/ 681906 h 5025119"/>
              <a:gd name="connsiteX70" fmla="*/ 410335 w 6886274"/>
              <a:gd name="connsiteY70" fmla="*/ 600387 h 5025119"/>
              <a:gd name="connsiteX71" fmla="*/ 397307 w 6886274"/>
              <a:gd name="connsiteY71" fmla="*/ 582892 h 5025119"/>
              <a:gd name="connsiteX72" fmla="*/ 363062 w 6886274"/>
              <a:gd name="connsiteY72" fmla="*/ 584009 h 5025119"/>
              <a:gd name="connsiteX73" fmla="*/ 334772 w 6886274"/>
              <a:gd name="connsiteY73" fmla="*/ 578426 h 5025119"/>
              <a:gd name="connsiteX74" fmla="*/ 281915 w 6886274"/>
              <a:gd name="connsiteY74" fmla="*/ 522219 h 5025119"/>
              <a:gd name="connsiteX75" fmla="*/ 263304 w 6886274"/>
              <a:gd name="connsiteY75" fmla="*/ 521846 h 5025119"/>
              <a:gd name="connsiteX76" fmla="*/ 263676 w 6886274"/>
              <a:gd name="connsiteY76" fmla="*/ 538225 h 5025119"/>
              <a:gd name="connsiteX77" fmla="*/ 275215 w 6886274"/>
              <a:gd name="connsiteY77" fmla="*/ 563164 h 5025119"/>
              <a:gd name="connsiteX78" fmla="*/ 271121 w 6886274"/>
              <a:gd name="connsiteY78" fmla="*/ 604854 h 5025119"/>
              <a:gd name="connsiteX79" fmla="*/ 274471 w 6886274"/>
              <a:gd name="connsiteY79" fmla="*/ 627560 h 5025119"/>
              <a:gd name="connsiteX80" fmla="*/ 319138 w 6886274"/>
              <a:gd name="connsiteY80" fmla="*/ 718012 h 5025119"/>
              <a:gd name="connsiteX81" fmla="*/ 326583 w 6886274"/>
              <a:gd name="connsiteY81" fmla="*/ 729551 h 5025119"/>
              <a:gd name="connsiteX82" fmla="*/ 349289 w 6886274"/>
              <a:gd name="connsiteY82" fmla="*/ 748163 h 5025119"/>
              <a:gd name="connsiteX83" fmla="*/ 528332 w 6886274"/>
              <a:gd name="connsiteY83" fmla="*/ 1007608 h 5025119"/>
              <a:gd name="connsiteX84" fmla="*/ 766932 w 6886274"/>
              <a:gd name="connsiteY84" fmla="*/ 1222758 h 5025119"/>
              <a:gd name="connsiteX85" fmla="*/ 681319 w 6886274"/>
              <a:gd name="connsiteY85" fmla="*/ 1190746 h 5025119"/>
              <a:gd name="connsiteX86" fmla="*/ 469520 w 6886274"/>
              <a:gd name="connsiteY86" fmla="*/ 1032920 h 5025119"/>
              <a:gd name="connsiteX87" fmla="*/ 325466 w 6886274"/>
              <a:gd name="connsiteY87" fmla="*/ 917900 h 5025119"/>
              <a:gd name="connsiteX88" fmla="*/ 312066 w 6886274"/>
              <a:gd name="connsiteY88" fmla="*/ 903383 h 5025119"/>
              <a:gd name="connsiteX89" fmla="*/ 296805 w 6886274"/>
              <a:gd name="connsiteY89" fmla="*/ 895566 h 5025119"/>
              <a:gd name="connsiteX90" fmla="*/ 288243 w 6886274"/>
              <a:gd name="connsiteY90" fmla="*/ 910828 h 5025119"/>
              <a:gd name="connsiteX91" fmla="*/ 309460 w 6886274"/>
              <a:gd name="connsiteY91" fmla="*/ 971129 h 5025119"/>
              <a:gd name="connsiteX92" fmla="*/ 407729 w 6886274"/>
              <a:gd name="connsiteY92" fmla="*/ 1062698 h 5025119"/>
              <a:gd name="connsiteX93" fmla="*/ 544338 w 6886274"/>
              <a:gd name="connsiteY93" fmla="*/ 1189257 h 5025119"/>
              <a:gd name="connsiteX94" fmla="*/ 454630 w 6886274"/>
              <a:gd name="connsiteY94" fmla="*/ 1120766 h 5025119"/>
              <a:gd name="connsiteX95" fmla="*/ 385396 w 6886274"/>
              <a:gd name="connsiteY95" fmla="*/ 1070515 h 5025119"/>
              <a:gd name="connsiteX96" fmla="*/ 366040 w 6886274"/>
              <a:gd name="connsiteY96" fmla="*/ 1067537 h 5025119"/>
              <a:gd name="connsiteX97" fmla="*/ 361573 w 6886274"/>
              <a:gd name="connsiteY97" fmla="*/ 1086149 h 5025119"/>
              <a:gd name="connsiteX98" fmla="*/ 402146 w 6886274"/>
              <a:gd name="connsiteY98" fmla="*/ 1152778 h 5025119"/>
              <a:gd name="connsiteX99" fmla="*/ 475475 w 6886274"/>
              <a:gd name="connsiteY99" fmla="*/ 1218663 h 5025119"/>
              <a:gd name="connsiteX100" fmla="*/ 393957 w 6886274"/>
              <a:gd name="connsiteY100" fmla="*/ 1201913 h 5025119"/>
              <a:gd name="connsiteX101" fmla="*/ 460586 w 6886274"/>
              <a:gd name="connsiteY101" fmla="*/ 1260353 h 5025119"/>
              <a:gd name="connsiteX102" fmla="*/ 561089 w 6886274"/>
              <a:gd name="connsiteY102" fmla="*/ 1291993 h 5025119"/>
              <a:gd name="connsiteX103" fmla="*/ 602034 w 6886274"/>
              <a:gd name="connsiteY103" fmla="*/ 1328843 h 5025119"/>
              <a:gd name="connsiteX104" fmla="*/ 641863 w 6886274"/>
              <a:gd name="connsiteY104" fmla="*/ 1368672 h 5025119"/>
              <a:gd name="connsiteX105" fmla="*/ 651541 w 6886274"/>
              <a:gd name="connsiteY105" fmla="*/ 1404406 h 5025119"/>
              <a:gd name="connsiteX106" fmla="*/ 688392 w 6886274"/>
              <a:gd name="connsiteY106" fmla="*/ 1457263 h 5025119"/>
              <a:gd name="connsiteX107" fmla="*/ 692486 w 6886274"/>
              <a:gd name="connsiteY107" fmla="*/ 1458008 h 5025119"/>
              <a:gd name="connsiteX108" fmla="*/ 719287 w 6886274"/>
              <a:gd name="connsiteY108" fmla="*/ 1485181 h 5025119"/>
              <a:gd name="connsiteX109" fmla="*/ 745343 w 6886274"/>
              <a:gd name="connsiteY109" fmla="*/ 1512353 h 5025119"/>
              <a:gd name="connsiteX110" fmla="*/ 750926 w 6886274"/>
              <a:gd name="connsiteY110" fmla="*/ 1516448 h 5025119"/>
              <a:gd name="connsiteX111" fmla="*/ 890141 w 6886274"/>
              <a:gd name="connsiteY111" fmla="*/ 1685813 h 5025119"/>
              <a:gd name="connsiteX112" fmla="*/ 899074 w 6886274"/>
              <a:gd name="connsiteY112" fmla="*/ 1693630 h 5025119"/>
              <a:gd name="connsiteX113" fmla="*/ 605012 w 6886274"/>
              <a:gd name="connsiteY113" fmla="*/ 1669435 h 5025119"/>
              <a:gd name="connsiteX114" fmla="*/ 229431 w 6886274"/>
              <a:gd name="connsiteY114" fmla="*/ 1545110 h 5025119"/>
              <a:gd name="connsiteX115" fmla="*/ 251765 w 6886274"/>
              <a:gd name="connsiteY115" fmla="*/ 1614717 h 5025119"/>
              <a:gd name="connsiteX116" fmla="*/ 237992 w 6886274"/>
              <a:gd name="connsiteY116" fmla="*/ 1675391 h 5025119"/>
              <a:gd name="connsiteX117" fmla="*/ 232781 w 6886274"/>
              <a:gd name="connsiteY117" fmla="*/ 1807160 h 5025119"/>
              <a:gd name="connsiteX118" fmla="*/ 236131 w 6886274"/>
              <a:gd name="connsiteY118" fmla="*/ 1828750 h 5025119"/>
              <a:gd name="connsiteX119" fmla="*/ 152007 w 6886274"/>
              <a:gd name="connsiteY119" fmla="*/ 1842150 h 5025119"/>
              <a:gd name="connsiteX120" fmla="*/ 653030 w 6886274"/>
              <a:gd name="connsiteY120" fmla="*/ 2213265 h 5025119"/>
              <a:gd name="connsiteX121" fmla="*/ 318394 w 6886274"/>
              <a:gd name="connsiteY121" fmla="*/ 2143285 h 5025119"/>
              <a:gd name="connsiteX122" fmla="*/ 272982 w 6886274"/>
              <a:gd name="connsiteY122" fmla="*/ 2258305 h 5025119"/>
              <a:gd name="connsiteX123" fmla="*/ 430435 w 6886274"/>
              <a:gd name="connsiteY123" fmla="*/ 2360668 h 5025119"/>
              <a:gd name="connsiteX124" fmla="*/ 488876 w 6886274"/>
              <a:gd name="connsiteY124" fmla="*/ 2563162 h 5025119"/>
              <a:gd name="connsiteX125" fmla="*/ 460586 w 6886274"/>
              <a:gd name="connsiteY125" fmla="*/ 2748533 h 5025119"/>
              <a:gd name="connsiteX126" fmla="*/ 393212 w 6886274"/>
              <a:gd name="connsiteY126" fmla="*/ 2807345 h 5025119"/>
              <a:gd name="connsiteX127" fmla="*/ 295688 w 6886274"/>
              <a:gd name="connsiteY127" fmla="*/ 2913059 h 5025119"/>
              <a:gd name="connsiteX128" fmla="*/ 235386 w 6886274"/>
              <a:gd name="connsiteY128" fmla="*/ 2978572 h 5025119"/>
              <a:gd name="connsiteX129" fmla="*/ 25448 w 6886274"/>
              <a:gd name="connsiteY129" fmla="*/ 2952888 h 5025119"/>
              <a:gd name="connsiteX130" fmla="*/ 305738 w 6886274"/>
              <a:gd name="connsiteY130" fmla="*/ 3119275 h 5025119"/>
              <a:gd name="connsiteX131" fmla="*/ 79049 w 6886274"/>
              <a:gd name="connsiteY131" fmla="*/ 3098430 h 5025119"/>
              <a:gd name="connsiteX132" fmla="*/ 4975 w 6886274"/>
              <a:gd name="connsiteY132" fmla="*/ 3109969 h 5025119"/>
              <a:gd name="connsiteX133" fmla="*/ 47037 w 6886274"/>
              <a:gd name="connsiteY133" fmla="*/ 3163943 h 5025119"/>
              <a:gd name="connsiteX134" fmla="*/ 213425 w 6886274"/>
              <a:gd name="connsiteY134" fmla="*/ 3255139 h 5025119"/>
              <a:gd name="connsiteX135" fmla="*/ 556622 w 6886274"/>
              <a:gd name="connsiteY135" fmla="*/ 3502301 h 5025119"/>
              <a:gd name="connsiteX136" fmla="*/ 224592 w 6886274"/>
              <a:gd name="connsiteY136" fmla="*/ 3388771 h 5025119"/>
              <a:gd name="connsiteX137" fmla="*/ 574861 w 6886274"/>
              <a:gd name="connsiteY137" fmla="*/ 3643004 h 5025119"/>
              <a:gd name="connsiteX138" fmla="*/ 652657 w 6886274"/>
              <a:gd name="connsiteY138" fmla="*/ 3727501 h 5025119"/>
              <a:gd name="connsiteX139" fmla="*/ 810111 w 6886274"/>
              <a:gd name="connsiteY139" fmla="*/ 3937067 h 5025119"/>
              <a:gd name="connsiteX140" fmla="*/ 802294 w 6886274"/>
              <a:gd name="connsiteY140" fmla="*/ 3960890 h 5025119"/>
              <a:gd name="connsiteX141" fmla="*/ 620646 w 6886274"/>
              <a:gd name="connsiteY141" fmla="*/ 3927017 h 5025119"/>
              <a:gd name="connsiteX142" fmla="*/ 856268 w 6886274"/>
              <a:gd name="connsiteY142" fmla="*/ 4103082 h 5025119"/>
              <a:gd name="connsiteX143" fmla="*/ 1099707 w 6886274"/>
              <a:gd name="connsiteY143" fmla="*/ 4238574 h 5025119"/>
              <a:gd name="connsiteX144" fmla="*/ 926992 w 6886274"/>
              <a:gd name="connsiteY144" fmla="*/ 4218102 h 5025119"/>
              <a:gd name="connsiteX145" fmla="*/ 689508 w 6886274"/>
              <a:gd name="connsiteY145" fmla="*/ 4140677 h 5025119"/>
              <a:gd name="connsiteX146" fmla="*/ 606873 w 6886274"/>
              <a:gd name="connsiteY146" fmla="*/ 4169711 h 5025119"/>
              <a:gd name="connsiteX147" fmla="*/ 831701 w 6886274"/>
              <a:gd name="connsiteY147" fmla="*/ 4297759 h 5025119"/>
              <a:gd name="connsiteX148" fmla="*/ 960493 w 6886274"/>
              <a:gd name="connsiteY148" fmla="*/ 4356944 h 5025119"/>
              <a:gd name="connsiteX149" fmla="*/ 1012233 w 6886274"/>
              <a:gd name="connsiteY149" fmla="*/ 4402356 h 5025119"/>
              <a:gd name="connsiteX150" fmla="*/ 1159636 w 6886274"/>
              <a:gd name="connsiteY150" fmla="*/ 4564276 h 5025119"/>
              <a:gd name="connsiteX151" fmla="*/ 1592169 w 6886274"/>
              <a:gd name="connsiteY151" fmla="*/ 4741458 h 5025119"/>
              <a:gd name="connsiteX152" fmla="*/ 3110499 w 6886274"/>
              <a:gd name="connsiteY152" fmla="*/ 5032171 h 5025119"/>
              <a:gd name="connsiteX153" fmla="*/ 6033630 w 6886274"/>
              <a:gd name="connsiteY153" fmla="*/ 4091915 h 5025119"/>
              <a:gd name="connsiteX154" fmla="*/ 6180661 w 6886274"/>
              <a:gd name="connsiteY154" fmla="*/ 3957912 h 5025119"/>
              <a:gd name="connsiteX155" fmla="*/ 6305359 w 6886274"/>
              <a:gd name="connsiteY155" fmla="*/ 3837309 h 5025119"/>
              <a:gd name="connsiteX156" fmla="*/ 6240218 w 6886274"/>
              <a:gd name="connsiteY156" fmla="*/ 3796364 h 5025119"/>
              <a:gd name="connsiteX157" fmla="*/ 6328437 w 6886274"/>
              <a:gd name="connsiteY157" fmla="*/ 3681344 h 5025119"/>
              <a:gd name="connsiteX158" fmla="*/ 6608355 w 6886274"/>
              <a:gd name="connsiteY158" fmla="*/ 3326236 h 5025119"/>
              <a:gd name="connsiteX159" fmla="*/ 6731191 w 6886274"/>
              <a:gd name="connsiteY159" fmla="*/ 3248067 h 5025119"/>
              <a:gd name="connsiteX160" fmla="*/ 6880456 w 6886274"/>
              <a:gd name="connsiteY160" fmla="*/ 3051529 h 5025119"/>
              <a:gd name="connsiteX161" fmla="*/ 6901673 w 6886274"/>
              <a:gd name="connsiteY161" fmla="*/ 2763795 h 5025119"/>
              <a:gd name="connsiteX162" fmla="*/ 6871150 w 6886274"/>
              <a:gd name="connsiteY162" fmla="*/ 2948421 h 5025119"/>
              <a:gd name="connsiteX163" fmla="*/ 6848444 w 6886274"/>
              <a:gd name="connsiteY163" fmla="*/ 2890353 h 5025119"/>
              <a:gd name="connsiteX164" fmla="*/ 6878223 w 6886274"/>
              <a:gd name="connsiteY164" fmla="*/ 2873230 h 5025119"/>
              <a:gd name="connsiteX165" fmla="*/ 6762459 w 6886274"/>
              <a:gd name="connsiteY165" fmla="*/ 2568745 h 5025119"/>
              <a:gd name="connsiteX166" fmla="*/ 6673123 w 6886274"/>
              <a:gd name="connsiteY166" fmla="*/ 2451493 h 5025119"/>
              <a:gd name="connsiteX167" fmla="*/ 6662700 w 6886274"/>
              <a:gd name="connsiteY167" fmla="*/ 2346896 h 5025119"/>
              <a:gd name="connsiteX168" fmla="*/ 6487752 w 6886274"/>
              <a:gd name="connsiteY168" fmla="*/ 2285105 h 5025119"/>
              <a:gd name="connsiteX169" fmla="*/ 6652278 w 6886274"/>
              <a:gd name="connsiteY169" fmla="*/ 2063628 h 5025119"/>
              <a:gd name="connsiteX170" fmla="*/ 6668656 w 6886274"/>
              <a:gd name="connsiteY170" fmla="*/ 2017843 h 5025119"/>
              <a:gd name="connsiteX171" fmla="*/ 6570015 w 6886274"/>
              <a:gd name="connsiteY171" fmla="*/ 1854062 h 5025119"/>
              <a:gd name="connsiteX172" fmla="*/ 6554009 w 6886274"/>
              <a:gd name="connsiteY172" fmla="*/ 1827633 h 5025119"/>
              <a:gd name="connsiteX173" fmla="*/ 6517531 w 6886274"/>
              <a:gd name="connsiteY173" fmla="*/ 1775149 h 5025119"/>
              <a:gd name="connsiteX174" fmla="*/ 6412934 w 6886274"/>
              <a:gd name="connsiteY174" fmla="*/ 1762493 h 5025119"/>
              <a:gd name="connsiteX175" fmla="*/ 6467279 w 6886274"/>
              <a:gd name="connsiteY175" fmla="*/ 1725642 h 5025119"/>
              <a:gd name="connsiteX176" fmla="*/ 6572621 w 6886274"/>
              <a:gd name="connsiteY176" fmla="*/ 1600200 h 5025119"/>
              <a:gd name="connsiteX177" fmla="*/ 6502641 w 6886274"/>
              <a:gd name="connsiteY177" fmla="*/ 1480341 h 5025119"/>
              <a:gd name="connsiteX178" fmla="*/ 6481796 w 6886274"/>
              <a:gd name="connsiteY178" fmla="*/ 1461358 h 5025119"/>
              <a:gd name="connsiteX179" fmla="*/ 6509713 w 6886274"/>
              <a:gd name="connsiteY179" fmla="*/ 1436418 h 5025119"/>
              <a:gd name="connsiteX180" fmla="*/ 6567037 w 6886274"/>
              <a:gd name="connsiteY180" fmla="*/ 1348199 h 5025119"/>
              <a:gd name="connsiteX181" fmla="*/ 6596816 w 6886274"/>
              <a:gd name="connsiteY181" fmla="*/ 1286781 h 5025119"/>
              <a:gd name="connsiteX182" fmla="*/ 6632178 w 6886274"/>
              <a:gd name="connsiteY182" fmla="*/ 1261842 h 5025119"/>
              <a:gd name="connsiteX183" fmla="*/ 6639994 w 6886274"/>
              <a:gd name="connsiteY183" fmla="*/ 1240625 h 5025119"/>
              <a:gd name="connsiteX184" fmla="*/ 6622127 w 6886274"/>
              <a:gd name="connsiteY184" fmla="*/ 1136400 h 5025119"/>
              <a:gd name="connsiteX185" fmla="*/ 6612077 w 6886274"/>
              <a:gd name="connsiteY185" fmla="*/ 1109599 h 5025119"/>
              <a:gd name="connsiteX186" fmla="*/ 6531675 w 6886274"/>
              <a:gd name="connsiteY186" fmla="*/ 1009469 h 5025119"/>
              <a:gd name="connsiteX187" fmla="*/ 6456113 w 6886274"/>
              <a:gd name="connsiteY187" fmla="*/ 845315 h 5025119"/>
              <a:gd name="connsiteX188" fmla="*/ 6440851 w 6886274"/>
              <a:gd name="connsiteY188" fmla="*/ 739229 h 5025119"/>
              <a:gd name="connsiteX189" fmla="*/ 6434523 w 6886274"/>
              <a:gd name="connsiteY189" fmla="*/ 715034 h 5025119"/>
              <a:gd name="connsiteX190" fmla="*/ 6432290 w 6886274"/>
              <a:gd name="connsiteY190" fmla="*/ 617510 h 5025119"/>
              <a:gd name="connsiteX191" fmla="*/ 6416284 w 6886274"/>
              <a:gd name="connsiteY191" fmla="*/ 595176 h 5025119"/>
              <a:gd name="connsiteX192" fmla="*/ 6267763 w 6886274"/>
              <a:gd name="connsiteY192" fmla="*/ 591826 h 5025119"/>
              <a:gd name="connsiteX193" fmla="*/ 6236496 w 6886274"/>
              <a:gd name="connsiteY193" fmla="*/ 521102 h 5025119"/>
              <a:gd name="connsiteX194" fmla="*/ 6257341 w 6886274"/>
              <a:gd name="connsiteY194" fmla="*/ 487229 h 5025119"/>
              <a:gd name="connsiteX195" fmla="*/ 6248780 w 6886274"/>
              <a:gd name="connsiteY195" fmla="*/ 465267 h 5025119"/>
              <a:gd name="connsiteX196" fmla="*/ 6226818 w 6886274"/>
              <a:gd name="connsiteY196" fmla="*/ 473456 h 5025119"/>
              <a:gd name="connsiteX197" fmla="*/ 6115149 w 6886274"/>
              <a:gd name="connsiteY197" fmla="*/ 551625 h 5025119"/>
              <a:gd name="connsiteX198" fmla="*/ 5951739 w 6886274"/>
              <a:gd name="connsiteY198" fmla="*/ 659944 h 5025119"/>
              <a:gd name="connsiteX199" fmla="*/ 5917122 w 6886274"/>
              <a:gd name="connsiteY199" fmla="*/ 644310 h 5025119"/>
              <a:gd name="connsiteX200" fmla="*/ 5890694 w 6886274"/>
              <a:gd name="connsiteY200" fmla="*/ 630538 h 5025119"/>
              <a:gd name="connsiteX201" fmla="*/ 5837464 w 6886274"/>
              <a:gd name="connsiteY201" fmla="*/ 646916 h 5025119"/>
              <a:gd name="connsiteX202" fmla="*/ 5809175 w 6886274"/>
              <a:gd name="connsiteY202" fmla="*/ 683395 h 5025119"/>
              <a:gd name="connsiteX203" fmla="*/ 5815503 w 6886274"/>
              <a:gd name="connsiteY203" fmla="*/ 698656 h 5025119"/>
              <a:gd name="connsiteX204" fmla="*/ 5746268 w 6886274"/>
              <a:gd name="connsiteY204" fmla="*/ 667389 h 5025119"/>
              <a:gd name="connsiteX205" fmla="*/ 5458905 w 6886274"/>
              <a:gd name="connsiteY205" fmla="*/ 754119 h 5025119"/>
              <a:gd name="connsiteX206" fmla="*/ 885302 w 6886274"/>
              <a:gd name="connsiteY206" fmla="*/ 1333310 h 5025119"/>
              <a:gd name="connsiteX207" fmla="*/ 862596 w 6886274"/>
              <a:gd name="connsiteY207" fmla="*/ 1314326 h 5025119"/>
              <a:gd name="connsiteX208" fmla="*/ 866318 w 6886274"/>
              <a:gd name="connsiteY208" fmla="*/ 1309860 h 5025119"/>
              <a:gd name="connsiteX209" fmla="*/ 912103 w 6886274"/>
              <a:gd name="connsiteY209" fmla="*/ 1341127 h 5025119"/>
              <a:gd name="connsiteX210" fmla="*/ 885302 w 6886274"/>
              <a:gd name="connsiteY210" fmla="*/ 1333310 h 5025119"/>
              <a:gd name="connsiteX211" fmla="*/ 1140280 w 6886274"/>
              <a:gd name="connsiteY211" fmla="*/ 787619 h 5025119"/>
              <a:gd name="connsiteX212" fmla="*/ 1414987 w 6886274"/>
              <a:gd name="connsiteY212" fmla="*/ 975596 h 5025119"/>
              <a:gd name="connsiteX213" fmla="*/ 1410892 w 6886274"/>
              <a:gd name="connsiteY213" fmla="*/ 980063 h 5025119"/>
              <a:gd name="connsiteX214" fmla="*/ 1140280 w 6886274"/>
              <a:gd name="connsiteY214" fmla="*/ 787619 h 502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6886274" h="5025119">
                <a:moveTo>
                  <a:pt x="5458905" y="754119"/>
                </a:moveTo>
                <a:cubicBezTo>
                  <a:pt x="5417216" y="775336"/>
                  <a:pt x="4594585" y="1111088"/>
                  <a:pt x="3455557" y="1027709"/>
                </a:cubicBezTo>
                <a:cubicBezTo>
                  <a:pt x="3415356" y="1024731"/>
                  <a:pt x="3377389" y="1022869"/>
                  <a:pt x="3338677" y="1021381"/>
                </a:cubicBezTo>
                <a:cubicBezTo>
                  <a:pt x="2996224" y="1006119"/>
                  <a:pt x="2660100" y="998674"/>
                  <a:pt x="2518280" y="980435"/>
                </a:cubicBezTo>
                <a:cubicBezTo>
                  <a:pt x="2407355" y="965918"/>
                  <a:pt x="1840075" y="843082"/>
                  <a:pt x="1673687" y="739229"/>
                </a:cubicBezTo>
                <a:cubicBezTo>
                  <a:pt x="1503578" y="632771"/>
                  <a:pt x="1343146" y="515146"/>
                  <a:pt x="1183459" y="397149"/>
                </a:cubicBezTo>
                <a:cubicBezTo>
                  <a:pt x="1114224" y="346153"/>
                  <a:pt x="1040522" y="299624"/>
                  <a:pt x="977987" y="241184"/>
                </a:cubicBezTo>
                <a:cubicBezTo>
                  <a:pt x="915453" y="182372"/>
                  <a:pt x="855896" y="121326"/>
                  <a:pt x="788150" y="66980"/>
                </a:cubicBezTo>
                <a:cubicBezTo>
                  <a:pt x="768794" y="51346"/>
                  <a:pt x="749438" y="34596"/>
                  <a:pt x="721148" y="31990"/>
                </a:cubicBezTo>
                <a:cubicBezTo>
                  <a:pt x="714820" y="31246"/>
                  <a:pt x="708120" y="31618"/>
                  <a:pt x="701792" y="32362"/>
                </a:cubicBezTo>
                <a:cubicBezTo>
                  <a:pt x="694720" y="33107"/>
                  <a:pt x="689136" y="36829"/>
                  <a:pt x="686530" y="43157"/>
                </a:cubicBezTo>
                <a:cubicBezTo>
                  <a:pt x="683925" y="50230"/>
                  <a:pt x="688392" y="54324"/>
                  <a:pt x="693603" y="58046"/>
                </a:cubicBezTo>
                <a:cubicBezTo>
                  <a:pt x="697325" y="60652"/>
                  <a:pt x="701047" y="64747"/>
                  <a:pt x="705886" y="65491"/>
                </a:cubicBezTo>
                <a:cubicBezTo>
                  <a:pt x="736782" y="69958"/>
                  <a:pt x="748321" y="92664"/>
                  <a:pt x="762838" y="112764"/>
                </a:cubicBezTo>
                <a:cubicBezTo>
                  <a:pt x="769166" y="121326"/>
                  <a:pt x="775866" y="128026"/>
                  <a:pt x="764327" y="140309"/>
                </a:cubicBezTo>
                <a:cubicBezTo>
                  <a:pt x="754277" y="151104"/>
                  <a:pt x="764699" y="156688"/>
                  <a:pt x="775121" y="159666"/>
                </a:cubicBezTo>
                <a:cubicBezTo>
                  <a:pt x="789638" y="163760"/>
                  <a:pt x="806761" y="163016"/>
                  <a:pt x="823139" y="176416"/>
                </a:cubicBezTo>
                <a:cubicBezTo>
                  <a:pt x="761721" y="177533"/>
                  <a:pt x="735665" y="142171"/>
                  <a:pt x="707748" y="109414"/>
                </a:cubicBezTo>
                <a:cubicBezTo>
                  <a:pt x="697325" y="97503"/>
                  <a:pt x="690253" y="83358"/>
                  <a:pt x="681319" y="69958"/>
                </a:cubicBezTo>
                <a:cubicBezTo>
                  <a:pt x="670152" y="53580"/>
                  <a:pt x="657124" y="52835"/>
                  <a:pt x="640746" y="67352"/>
                </a:cubicBezTo>
                <a:cubicBezTo>
                  <a:pt x="626229" y="80380"/>
                  <a:pt x="619157" y="79264"/>
                  <a:pt x="614318" y="61396"/>
                </a:cubicBezTo>
                <a:cubicBezTo>
                  <a:pt x="606873" y="33479"/>
                  <a:pt x="589750" y="13751"/>
                  <a:pt x="560716" y="3701"/>
                </a:cubicBezTo>
                <a:cubicBezTo>
                  <a:pt x="554388" y="1467"/>
                  <a:pt x="546572" y="-3372"/>
                  <a:pt x="540616" y="3701"/>
                </a:cubicBezTo>
                <a:cubicBezTo>
                  <a:pt x="535405" y="9656"/>
                  <a:pt x="539871" y="16729"/>
                  <a:pt x="543594" y="21940"/>
                </a:cubicBezTo>
                <a:cubicBezTo>
                  <a:pt x="550294" y="31246"/>
                  <a:pt x="556250" y="40179"/>
                  <a:pt x="558855" y="51346"/>
                </a:cubicBezTo>
                <a:cubicBezTo>
                  <a:pt x="560716" y="58791"/>
                  <a:pt x="562578" y="66980"/>
                  <a:pt x="557366" y="72563"/>
                </a:cubicBezTo>
                <a:cubicBezTo>
                  <a:pt x="535777" y="96386"/>
                  <a:pt x="551411" y="107553"/>
                  <a:pt x="570022" y="120209"/>
                </a:cubicBezTo>
                <a:cubicBezTo>
                  <a:pt x="595706" y="137332"/>
                  <a:pt x="605756" y="162643"/>
                  <a:pt x="599801" y="192794"/>
                </a:cubicBezTo>
                <a:cubicBezTo>
                  <a:pt x="597567" y="205078"/>
                  <a:pt x="599056" y="212522"/>
                  <a:pt x="614318" y="212150"/>
                </a:cubicBezTo>
                <a:cubicBezTo>
                  <a:pt x="620273" y="212150"/>
                  <a:pt x="621762" y="216245"/>
                  <a:pt x="623996" y="220711"/>
                </a:cubicBezTo>
                <a:cubicBezTo>
                  <a:pt x="671641" y="326053"/>
                  <a:pt x="740504" y="418366"/>
                  <a:pt x="821278" y="503235"/>
                </a:cubicBezTo>
                <a:cubicBezTo>
                  <a:pt x="886791" y="572098"/>
                  <a:pt x="959004" y="634260"/>
                  <a:pt x="1033822" y="694562"/>
                </a:cubicBezTo>
                <a:cubicBezTo>
                  <a:pt x="1036055" y="696423"/>
                  <a:pt x="1038289" y="698656"/>
                  <a:pt x="1039406" y="702378"/>
                </a:cubicBezTo>
                <a:cubicBezTo>
                  <a:pt x="1004044" y="694934"/>
                  <a:pt x="973521" y="679672"/>
                  <a:pt x="944114" y="662550"/>
                </a:cubicBezTo>
                <a:cubicBezTo>
                  <a:pt x="865946" y="617138"/>
                  <a:pt x="800061" y="558325"/>
                  <a:pt x="733432" y="500629"/>
                </a:cubicBezTo>
                <a:cubicBezTo>
                  <a:pt x="692858" y="465267"/>
                  <a:pt x="651169" y="431022"/>
                  <a:pt x="606501" y="399755"/>
                </a:cubicBezTo>
                <a:cubicBezTo>
                  <a:pt x="599056" y="394543"/>
                  <a:pt x="593845" y="387843"/>
                  <a:pt x="588634" y="381143"/>
                </a:cubicBezTo>
                <a:cubicBezTo>
                  <a:pt x="585656" y="377421"/>
                  <a:pt x="581934" y="374071"/>
                  <a:pt x="575978" y="375560"/>
                </a:cubicBezTo>
                <a:cubicBezTo>
                  <a:pt x="568533" y="377421"/>
                  <a:pt x="567789" y="383004"/>
                  <a:pt x="567044" y="388588"/>
                </a:cubicBezTo>
                <a:cubicBezTo>
                  <a:pt x="564811" y="406455"/>
                  <a:pt x="569650" y="422461"/>
                  <a:pt x="578956" y="437722"/>
                </a:cubicBezTo>
                <a:cubicBezTo>
                  <a:pt x="603151" y="476806"/>
                  <a:pt x="638885" y="506957"/>
                  <a:pt x="675736" y="535619"/>
                </a:cubicBezTo>
                <a:cubicBezTo>
                  <a:pt x="723381" y="572470"/>
                  <a:pt x="769538" y="610810"/>
                  <a:pt x="811600" y="652872"/>
                </a:cubicBezTo>
                <a:cubicBezTo>
                  <a:pt x="814578" y="655850"/>
                  <a:pt x="820161" y="657711"/>
                  <a:pt x="818300" y="666272"/>
                </a:cubicBezTo>
                <a:cubicBezTo>
                  <a:pt x="791872" y="646544"/>
                  <a:pt x="766932" y="627188"/>
                  <a:pt x="741621" y="608576"/>
                </a:cubicBezTo>
                <a:cubicBezTo>
                  <a:pt x="716681" y="589965"/>
                  <a:pt x="691369" y="571353"/>
                  <a:pt x="666430" y="553114"/>
                </a:cubicBezTo>
                <a:cubicBezTo>
                  <a:pt x="660474" y="548647"/>
                  <a:pt x="654146" y="542319"/>
                  <a:pt x="645585" y="547903"/>
                </a:cubicBezTo>
                <a:cubicBezTo>
                  <a:pt x="636652" y="553486"/>
                  <a:pt x="637768" y="562792"/>
                  <a:pt x="640002" y="570236"/>
                </a:cubicBezTo>
                <a:cubicBezTo>
                  <a:pt x="647074" y="592198"/>
                  <a:pt x="659358" y="611554"/>
                  <a:pt x="675736" y="628677"/>
                </a:cubicBezTo>
                <a:cubicBezTo>
                  <a:pt x="731570" y="685256"/>
                  <a:pt x="795966" y="734018"/>
                  <a:pt x="855896" y="786875"/>
                </a:cubicBezTo>
                <a:cubicBezTo>
                  <a:pt x="888280" y="815537"/>
                  <a:pt x="918058" y="846060"/>
                  <a:pt x="946348" y="877699"/>
                </a:cubicBezTo>
                <a:cubicBezTo>
                  <a:pt x="952676" y="884772"/>
                  <a:pt x="952303" y="891472"/>
                  <a:pt x="950442" y="899661"/>
                </a:cubicBezTo>
                <a:cubicBezTo>
                  <a:pt x="942998" y="932790"/>
                  <a:pt x="954537" y="943957"/>
                  <a:pt x="991760" y="937629"/>
                </a:cubicBezTo>
                <a:cubicBezTo>
                  <a:pt x="1003299" y="935767"/>
                  <a:pt x="1011116" y="937629"/>
                  <a:pt x="1018188" y="945445"/>
                </a:cubicBezTo>
                <a:cubicBezTo>
                  <a:pt x="1103802" y="1042225"/>
                  <a:pt x="1205048" y="1123744"/>
                  <a:pt x="1315601" y="1196329"/>
                </a:cubicBezTo>
                <a:cubicBezTo>
                  <a:pt x="1360641" y="1225735"/>
                  <a:pt x="1407170" y="1253653"/>
                  <a:pt x="1454443" y="1279709"/>
                </a:cubicBezTo>
                <a:cubicBezTo>
                  <a:pt x="1454443" y="1281570"/>
                  <a:pt x="1454443" y="1283804"/>
                  <a:pt x="1454443" y="1285665"/>
                </a:cubicBezTo>
                <a:cubicBezTo>
                  <a:pt x="1454071" y="1288270"/>
                  <a:pt x="1453699" y="1289759"/>
                  <a:pt x="1453327" y="1291993"/>
                </a:cubicBezTo>
                <a:cubicBezTo>
                  <a:pt x="1386697" y="1251792"/>
                  <a:pt x="1320812" y="1210474"/>
                  <a:pt x="1256416" y="1166923"/>
                </a:cubicBezTo>
                <a:cubicBezTo>
                  <a:pt x="1081840" y="1048926"/>
                  <a:pt x="915080" y="922367"/>
                  <a:pt x="745715" y="798786"/>
                </a:cubicBezTo>
                <a:cubicBezTo>
                  <a:pt x="688764" y="757096"/>
                  <a:pt x="643724" y="703867"/>
                  <a:pt x="592356" y="656966"/>
                </a:cubicBezTo>
                <a:cubicBezTo>
                  <a:pt x="558111" y="625699"/>
                  <a:pt x="525354" y="592943"/>
                  <a:pt x="485526" y="567259"/>
                </a:cubicBezTo>
                <a:cubicBezTo>
                  <a:pt x="469148" y="556836"/>
                  <a:pt x="452025" y="547530"/>
                  <a:pt x="430063" y="550136"/>
                </a:cubicBezTo>
                <a:cubicBezTo>
                  <a:pt x="421502" y="551253"/>
                  <a:pt x="411824" y="553486"/>
                  <a:pt x="408846" y="563164"/>
                </a:cubicBezTo>
                <a:cubicBezTo>
                  <a:pt x="406240" y="572842"/>
                  <a:pt x="414057" y="577309"/>
                  <a:pt x="421130" y="581403"/>
                </a:cubicBezTo>
                <a:cubicBezTo>
                  <a:pt x="422991" y="582520"/>
                  <a:pt x="424852" y="584009"/>
                  <a:pt x="426713" y="584009"/>
                </a:cubicBezTo>
                <a:cubicBezTo>
                  <a:pt x="462075" y="586242"/>
                  <a:pt x="470264" y="614532"/>
                  <a:pt x="487015" y="635005"/>
                </a:cubicBezTo>
                <a:cubicBezTo>
                  <a:pt x="492226" y="641333"/>
                  <a:pt x="492598" y="647661"/>
                  <a:pt x="487015" y="655105"/>
                </a:cubicBezTo>
                <a:cubicBezTo>
                  <a:pt x="476964" y="668505"/>
                  <a:pt x="484037" y="674461"/>
                  <a:pt x="497437" y="678183"/>
                </a:cubicBezTo>
                <a:cubicBezTo>
                  <a:pt x="510837" y="681906"/>
                  <a:pt x="525354" y="683022"/>
                  <a:pt x="539871" y="691584"/>
                </a:cubicBezTo>
                <a:cubicBezTo>
                  <a:pt x="516793" y="698656"/>
                  <a:pt x="500787" y="691212"/>
                  <a:pt x="485898" y="681906"/>
                </a:cubicBezTo>
                <a:cubicBezTo>
                  <a:pt x="452397" y="661433"/>
                  <a:pt x="430808" y="631282"/>
                  <a:pt x="410335" y="600387"/>
                </a:cubicBezTo>
                <a:cubicBezTo>
                  <a:pt x="406240" y="594431"/>
                  <a:pt x="402890" y="587731"/>
                  <a:pt x="397307" y="582892"/>
                </a:cubicBezTo>
                <a:cubicBezTo>
                  <a:pt x="386884" y="573214"/>
                  <a:pt x="375717" y="572098"/>
                  <a:pt x="363062" y="584009"/>
                </a:cubicBezTo>
                <a:cubicBezTo>
                  <a:pt x="346311" y="599643"/>
                  <a:pt x="340356" y="598526"/>
                  <a:pt x="334772" y="578426"/>
                </a:cubicBezTo>
                <a:cubicBezTo>
                  <a:pt x="327327" y="551253"/>
                  <a:pt x="310577" y="532269"/>
                  <a:pt x="281915" y="522219"/>
                </a:cubicBezTo>
                <a:cubicBezTo>
                  <a:pt x="275960" y="519985"/>
                  <a:pt x="269632" y="517007"/>
                  <a:pt x="263304" y="521846"/>
                </a:cubicBezTo>
                <a:cubicBezTo>
                  <a:pt x="256604" y="527430"/>
                  <a:pt x="261070" y="533013"/>
                  <a:pt x="263676" y="538225"/>
                </a:cubicBezTo>
                <a:cubicBezTo>
                  <a:pt x="267398" y="546414"/>
                  <a:pt x="271865" y="554603"/>
                  <a:pt x="275215" y="563164"/>
                </a:cubicBezTo>
                <a:cubicBezTo>
                  <a:pt x="281171" y="576937"/>
                  <a:pt x="282288" y="591454"/>
                  <a:pt x="271121" y="604854"/>
                </a:cubicBezTo>
                <a:cubicBezTo>
                  <a:pt x="262931" y="614532"/>
                  <a:pt x="263676" y="620860"/>
                  <a:pt x="274471" y="627560"/>
                </a:cubicBezTo>
                <a:cubicBezTo>
                  <a:pt x="309088" y="648405"/>
                  <a:pt x="331050" y="675578"/>
                  <a:pt x="319138" y="718012"/>
                </a:cubicBezTo>
                <a:cubicBezTo>
                  <a:pt x="317277" y="723968"/>
                  <a:pt x="319511" y="729924"/>
                  <a:pt x="326583" y="729551"/>
                </a:cubicBezTo>
                <a:cubicBezTo>
                  <a:pt x="342217" y="728435"/>
                  <a:pt x="344822" y="738113"/>
                  <a:pt x="349289" y="748163"/>
                </a:cubicBezTo>
                <a:cubicBezTo>
                  <a:pt x="392840" y="844571"/>
                  <a:pt x="455747" y="928695"/>
                  <a:pt x="528332" y="1007608"/>
                </a:cubicBezTo>
                <a:cubicBezTo>
                  <a:pt x="600173" y="1085777"/>
                  <a:pt x="680947" y="1155756"/>
                  <a:pt x="766932" y="1222758"/>
                </a:cubicBezTo>
                <a:cubicBezTo>
                  <a:pt x="742737" y="1220524"/>
                  <a:pt x="711470" y="1206752"/>
                  <a:pt x="681319" y="1190746"/>
                </a:cubicBezTo>
                <a:cubicBezTo>
                  <a:pt x="601662" y="1147939"/>
                  <a:pt x="536149" y="1089871"/>
                  <a:pt x="469520" y="1032920"/>
                </a:cubicBezTo>
                <a:cubicBezTo>
                  <a:pt x="422991" y="993091"/>
                  <a:pt x="377579" y="952146"/>
                  <a:pt x="325466" y="917900"/>
                </a:cubicBezTo>
                <a:cubicBezTo>
                  <a:pt x="319511" y="914178"/>
                  <a:pt x="315416" y="909339"/>
                  <a:pt x="312066" y="903383"/>
                </a:cubicBezTo>
                <a:cubicBezTo>
                  <a:pt x="309088" y="898172"/>
                  <a:pt x="304621" y="893333"/>
                  <a:pt x="296805" y="895566"/>
                </a:cubicBezTo>
                <a:cubicBezTo>
                  <a:pt x="288988" y="898172"/>
                  <a:pt x="288243" y="904872"/>
                  <a:pt x="288243" y="910828"/>
                </a:cubicBezTo>
                <a:cubicBezTo>
                  <a:pt x="289360" y="933162"/>
                  <a:pt x="295688" y="953262"/>
                  <a:pt x="309460" y="971129"/>
                </a:cubicBezTo>
                <a:cubicBezTo>
                  <a:pt x="336261" y="1006864"/>
                  <a:pt x="371995" y="1034781"/>
                  <a:pt x="407729" y="1062698"/>
                </a:cubicBezTo>
                <a:cubicBezTo>
                  <a:pt x="457236" y="1101038"/>
                  <a:pt x="503021" y="1142728"/>
                  <a:pt x="544338" y="1189257"/>
                </a:cubicBezTo>
                <a:cubicBezTo>
                  <a:pt x="514560" y="1166551"/>
                  <a:pt x="484781" y="1143472"/>
                  <a:pt x="454630" y="1120766"/>
                </a:cubicBezTo>
                <a:cubicBezTo>
                  <a:pt x="431924" y="1103644"/>
                  <a:pt x="408474" y="1087265"/>
                  <a:pt x="385396" y="1070515"/>
                </a:cubicBezTo>
                <a:cubicBezTo>
                  <a:pt x="379812" y="1066421"/>
                  <a:pt x="373856" y="1061954"/>
                  <a:pt x="366040" y="1067537"/>
                </a:cubicBezTo>
                <a:cubicBezTo>
                  <a:pt x="358967" y="1072376"/>
                  <a:pt x="360084" y="1079449"/>
                  <a:pt x="361573" y="1086149"/>
                </a:cubicBezTo>
                <a:cubicBezTo>
                  <a:pt x="367156" y="1112577"/>
                  <a:pt x="382790" y="1133794"/>
                  <a:pt x="402146" y="1152778"/>
                </a:cubicBezTo>
                <a:cubicBezTo>
                  <a:pt x="425596" y="1175484"/>
                  <a:pt x="450164" y="1197074"/>
                  <a:pt x="475475" y="1218663"/>
                </a:cubicBezTo>
                <a:cubicBezTo>
                  <a:pt x="448303" y="1212707"/>
                  <a:pt x="421130" y="1206752"/>
                  <a:pt x="393957" y="1201913"/>
                </a:cubicBezTo>
                <a:cubicBezTo>
                  <a:pt x="406240" y="1245091"/>
                  <a:pt x="434902" y="1253653"/>
                  <a:pt x="460586" y="1260353"/>
                </a:cubicBezTo>
                <a:cubicBezTo>
                  <a:pt x="495204" y="1268914"/>
                  <a:pt x="528332" y="1279709"/>
                  <a:pt x="561089" y="1291993"/>
                </a:cubicBezTo>
                <a:cubicBezTo>
                  <a:pt x="574861" y="1304276"/>
                  <a:pt x="588634" y="1316188"/>
                  <a:pt x="602034" y="1328843"/>
                </a:cubicBezTo>
                <a:cubicBezTo>
                  <a:pt x="615807" y="1341872"/>
                  <a:pt x="628835" y="1354900"/>
                  <a:pt x="641863" y="1368672"/>
                </a:cubicBezTo>
                <a:cubicBezTo>
                  <a:pt x="651169" y="1378722"/>
                  <a:pt x="662335" y="1387284"/>
                  <a:pt x="651541" y="1404406"/>
                </a:cubicBezTo>
                <a:cubicBezTo>
                  <a:pt x="646702" y="1412223"/>
                  <a:pt x="678341" y="1454658"/>
                  <a:pt x="688392" y="1457263"/>
                </a:cubicBezTo>
                <a:cubicBezTo>
                  <a:pt x="689881" y="1457635"/>
                  <a:pt x="691369" y="1458008"/>
                  <a:pt x="692486" y="1458008"/>
                </a:cubicBezTo>
                <a:cubicBezTo>
                  <a:pt x="714076" y="1456519"/>
                  <a:pt x="718915" y="1469175"/>
                  <a:pt x="719287" y="1485181"/>
                </a:cubicBezTo>
                <a:cubicBezTo>
                  <a:pt x="719659" y="1500814"/>
                  <a:pt x="715937" y="1520170"/>
                  <a:pt x="745343" y="1512353"/>
                </a:cubicBezTo>
                <a:cubicBezTo>
                  <a:pt x="748693" y="1511609"/>
                  <a:pt x="749438" y="1513842"/>
                  <a:pt x="750926" y="1516448"/>
                </a:cubicBezTo>
                <a:cubicBezTo>
                  <a:pt x="782938" y="1583077"/>
                  <a:pt x="836912" y="1634445"/>
                  <a:pt x="890141" y="1685813"/>
                </a:cubicBezTo>
                <a:cubicBezTo>
                  <a:pt x="893119" y="1688419"/>
                  <a:pt x="896097" y="1691024"/>
                  <a:pt x="899074" y="1693630"/>
                </a:cubicBezTo>
                <a:cubicBezTo>
                  <a:pt x="843240" y="1680602"/>
                  <a:pt x="658985" y="1663851"/>
                  <a:pt x="605012" y="1669435"/>
                </a:cubicBezTo>
                <a:cubicBezTo>
                  <a:pt x="556994" y="1674274"/>
                  <a:pt x="285638" y="1593128"/>
                  <a:pt x="229431" y="1545110"/>
                </a:cubicBezTo>
                <a:cubicBezTo>
                  <a:pt x="221614" y="1582705"/>
                  <a:pt x="238364" y="1597594"/>
                  <a:pt x="251765" y="1614717"/>
                </a:cubicBezTo>
                <a:cubicBezTo>
                  <a:pt x="270748" y="1638912"/>
                  <a:pt x="273726" y="1656035"/>
                  <a:pt x="237992" y="1675391"/>
                </a:cubicBezTo>
                <a:cubicBezTo>
                  <a:pt x="135628" y="1730481"/>
                  <a:pt x="136745" y="1732342"/>
                  <a:pt x="232781" y="1807160"/>
                </a:cubicBezTo>
                <a:cubicBezTo>
                  <a:pt x="237248" y="1810511"/>
                  <a:pt x="235014" y="1821305"/>
                  <a:pt x="236131" y="1828750"/>
                </a:cubicBezTo>
                <a:cubicBezTo>
                  <a:pt x="211191" y="1839917"/>
                  <a:pt x="181785" y="1810883"/>
                  <a:pt x="152007" y="1842150"/>
                </a:cubicBezTo>
                <a:cubicBezTo>
                  <a:pt x="280426" y="1979503"/>
                  <a:pt x="475848" y="2110157"/>
                  <a:pt x="653030" y="2213265"/>
                </a:cubicBezTo>
                <a:cubicBezTo>
                  <a:pt x="509721" y="2247138"/>
                  <a:pt x="423735" y="2128024"/>
                  <a:pt x="318394" y="2143285"/>
                </a:cubicBezTo>
                <a:cubicBezTo>
                  <a:pt x="265909" y="2180508"/>
                  <a:pt x="422246" y="2240810"/>
                  <a:pt x="272982" y="2258305"/>
                </a:cubicBezTo>
                <a:cubicBezTo>
                  <a:pt x="337750" y="2291061"/>
                  <a:pt x="385768" y="2323073"/>
                  <a:pt x="430435" y="2360668"/>
                </a:cubicBezTo>
                <a:cubicBezTo>
                  <a:pt x="509721" y="2428042"/>
                  <a:pt x="525354" y="2472710"/>
                  <a:pt x="488876" y="2563162"/>
                </a:cubicBezTo>
                <a:cubicBezTo>
                  <a:pt x="464681" y="2622719"/>
                  <a:pt x="429691" y="2677437"/>
                  <a:pt x="460586" y="2748533"/>
                </a:cubicBezTo>
                <a:cubicBezTo>
                  <a:pt x="481803" y="2797295"/>
                  <a:pt x="473614" y="2829307"/>
                  <a:pt x="393212" y="2807345"/>
                </a:cubicBezTo>
                <a:cubicBezTo>
                  <a:pt x="306483" y="2783895"/>
                  <a:pt x="273726" y="2827818"/>
                  <a:pt x="295688" y="2913059"/>
                </a:cubicBezTo>
                <a:cubicBezTo>
                  <a:pt x="309833" y="2967777"/>
                  <a:pt x="294943" y="2984900"/>
                  <a:pt x="235386" y="2978572"/>
                </a:cubicBezTo>
                <a:cubicBezTo>
                  <a:pt x="169501" y="2971499"/>
                  <a:pt x="106967" y="2935765"/>
                  <a:pt x="25448" y="2952888"/>
                </a:cubicBezTo>
                <a:cubicBezTo>
                  <a:pt x="90588" y="3052646"/>
                  <a:pt x="229803" y="3024356"/>
                  <a:pt x="305738" y="3119275"/>
                </a:cubicBezTo>
                <a:cubicBezTo>
                  <a:pt x="215286" y="3119647"/>
                  <a:pt x="146051" y="3119275"/>
                  <a:pt x="79049" y="3098430"/>
                </a:cubicBezTo>
                <a:cubicBezTo>
                  <a:pt x="51132" y="3089869"/>
                  <a:pt x="20609" y="3081308"/>
                  <a:pt x="4975" y="3109969"/>
                </a:cubicBezTo>
                <a:cubicBezTo>
                  <a:pt x="-13636" y="3144587"/>
                  <a:pt x="24331" y="3157615"/>
                  <a:pt x="47037" y="3163943"/>
                </a:cubicBezTo>
                <a:cubicBezTo>
                  <a:pt x="111061" y="3181438"/>
                  <a:pt x="160196" y="3222755"/>
                  <a:pt x="213425" y="3255139"/>
                </a:cubicBezTo>
                <a:cubicBezTo>
                  <a:pt x="329933" y="3326236"/>
                  <a:pt x="457981" y="3385420"/>
                  <a:pt x="556622" y="3502301"/>
                </a:cubicBezTo>
                <a:cubicBezTo>
                  <a:pt x="432669" y="3472523"/>
                  <a:pt x="339983" y="3402915"/>
                  <a:pt x="224592" y="3388771"/>
                </a:cubicBezTo>
                <a:cubicBezTo>
                  <a:pt x="324722" y="3495601"/>
                  <a:pt x="453142" y="3565208"/>
                  <a:pt x="574861" y="3643004"/>
                </a:cubicBezTo>
                <a:cubicBezTo>
                  <a:pt x="609479" y="3664966"/>
                  <a:pt x="644841" y="3679855"/>
                  <a:pt x="652657" y="3727501"/>
                </a:cubicBezTo>
                <a:cubicBezTo>
                  <a:pt x="667919" y="3819814"/>
                  <a:pt x="712959" y="3896494"/>
                  <a:pt x="810111" y="3937067"/>
                </a:cubicBezTo>
                <a:cubicBezTo>
                  <a:pt x="810856" y="3937439"/>
                  <a:pt x="805644" y="3951212"/>
                  <a:pt x="802294" y="3960890"/>
                </a:cubicBezTo>
                <a:cubicBezTo>
                  <a:pt x="743110" y="3963868"/>
                  <a:pt x="696581" y="3909149"/>
                  <a:pt x="620646" y="3927017"/>
                </a:cubicBezTo>
                <a:cubicBezTo>
                  <a:pt x="692858" y="4001091"/>
                  <a:pt x="753532" y="4067720"/>
                  <a:pt x="856268" y="4103082"/>
                </a:cubicBezTo>
                <a:cubicBezTo>
                  <a:pt x="938531" y="4131372"/>
                  <a:pt x="1040150" y="4147377"/>
                  <a:pt x="1099707" y="4238574"/>
                </a:cubicBezTo>
                <a:cubicBezTo>
                  <a:pt x="1030472" y="4256441"/>
                  <a:pt x="978732" y="4234107"/>
                  <a:pt x="926992" y="4218102"/>
                </a:cubicBezTo>
                <a:cubicBezTo>
                  <a:pt x="847334" y="4193534"/>
                  <a:pt x="769166" y="4165617"/>
                  <a:pt x="689508" y="4140677"/>
                </a:cubicBezTo>
                <a:cubicBezTo>
                  <a:pt x="659358" y="4131372"/>
                  <a:pt x="626229" y="4124299"/>
                  <a:pt x="606873" y="4169711"/>
                </a:cubicBezTo>
                <a:cubicBezTo>
                  <a:pt x="707748" y="4179389"/>
                  <a:pt x="768421" y="4240435"/>
                  <a:pt x="831701" y="4297759"/>
                </a:cubicBezTo>
                <a:cubicBezTo>
                  <a:pt x="867435" y="4330143"/>
                  <a:pt x="896469" y="4373322"/>
                  <a:pt x="960493" y="4356944"/>
                </a:cubicBezTo>
                <a:cubicBezTo>
                  <a:pt x="994366" y="4348382"/>
                  <a:pt x="1015955" y="4372578"/>
                  <a:pt x="1012233" y="4402356"/>
                </a:cubicBezTo>
                <a:cubicBezTo>
                  <a:pt x="999577" y="4507325"/>
                  <a:pt x="1078118" y="4544176"/>
                  <a:pt x="1159636" y="4564276"/>
                </a:cubicBezTo>
                <a:cubicBezTo>
                  <a:pt x="1313740" y="4602616"/>
                  <a:pt x="1442160" y="4692324"/>
                  <a:pt x="1592169" y="4741458"/>
                </a:cubicBezTo>
                <a:cubicBezTo>
                  <a:pt x="1738083" y="4789104"/>
                  <a:pt x="2833187" y="5010209"/>
                  <a:pt x="3110499" y="5032171"/>
                </a:cubicBezTo>
                <a:cubicBezTo>
                  <a:pt x="4807501" y="5166546"/>
                  <a:pt x="6028047" y="4106432"/>
                  <a:pt x="6033630" y="4091915"/>
                </a:cubicBezTo>
                <a:cubicBezTo>
                  <a:pt x="6059314" y="4023797"/>
                  <a:pt x="6122965" y="3994390"/>
                  <a:pt x="6180661" y="3957912"/>
                </a:cubicBezTo>
                <a:cubicBezTo>
                  <a:pt x="6230913" y="3925900"/>
                  <a:pt x="6284514" y="3892027"/>
                  <a:pt x="6305359" y="3837309"/>
                </a:cubicBezTo>
                <a:cubicBezTo>
                  <a:pt x="6332904" y="3764724"/>
                  <a:pt x="6254735" y="3824281"/>
                  <a:pt x="6240218" y="3796364"/>
                </a:cubicBezTo>
                <a:cubicBezTo>
                  <a:pt x="6269997" y="3758768"/>
                  <a:pt x="6316153" y="3724151"/>
                  <a:pt x="6328437" y="3681344"/>
                </a:cubicBezTo>
                <a:cubicBezTo>
                  <a:pt x="6372361" y="3526496"/>
                  <a:pt x="6466907" y="3413710"/>
                  <a:pt x="6608355" y="3326236"/>
                </a:cubicBezTo>
                <a:cubicBezTo>
                  <a:pt x="6648928" y="3300924"/>
                  <a:pt x="6675729" y="3255512"/>
                  <a:pt x="6731191" y="3248067"/>
                </a:cubicBezTo>
                <a:cubicBezTo>
                  <a:pt x="6854400" y="3232061"/>
                  <a:pt x="6815315" y="3106992"/>
                  <a:pt x="6880456" y="3051529"/>
                </a:cubicBezTo>
                <a:cubicBezTo>
                  <a:pt x="6892739" y="3041107"/>
                  <a:pt x="6903907" y="2777939"/>
                  <a:pt x="6901673" y="2763795"/>
                </a:cubicBezTo>
                <a:cubicBezTo>
                  <a:pt x="6898323" y="2743322"/>
                  <a:pt x="6883806" y="2966288"/>
                  <a:pt x="6871150" y="2948421"/>
                </a:cubicBezTo>
                <a:cubicBezTo>
                  <a:pt x="6858494" y="2930182"/>
                  <a:pt x="6839138" y="2914176"/>
                  <a:pt x="6848444" y="2890353"/>
                </a:cubicBezTo>
                <a:cubicBezTo>
                  <a:pt x="6852166" y="2880303"/>
                  <a:pt x="6849561" y="2846058"/>
                  <a:pt x="6878223" y="2873230"/>
                </a:cubicBezTo>
                <a:cubicBezTo>
                  <a:pt x="6956763" y="2946932"/>
                  <a:pt x="6870778" y="2578051"/>
                  <a:pt x="6762459" y="2568745"/>
                </a:cubicBezTo>
                <a:cubicBezTo>
                  <a:pt x="6801915" y="2465637"/>
                  <a:pt x="6801915" y="2465637"/>
                  <a:pt x="6673123" y="2451493"/>
                </a:cubicBezTo>
                <a:cubicBezTo>
                  <a:pt x="6722630" y="2385980"/>
                  <a:pt x="6722630" y="2369229"/>
                  <a:pt x="6662700" y="2346896"/>
                </a:cubicBezTo>
                <a:cubicBezTo>
                  <a:pt x="6605005" y="2325306"/>
                  <a:pt x="6540981" y="2318234"/>
                  <a:pt x="6487752" y="2285105"/>
                </a:cubicBezTo>
                <a:cubicBezTo>
                  <a:pt x="6536887" y="2201353"/>
                  <a:pt x="6550659" y="2104573"/>
                  <a:pt x="6652278" y="2063628"/>
                </a:cubicBezTo>
                <a:cubicBezTo>
                  <a:pt x="6668284" y="2057300"/>
                  <a:pt x="6679079" y="2031988"/>
                  <a:pt x="6668656" y="2017843"/>
                </a:cubicBezTo>
                <a:cubicBezTo>
                  <a:pt x="6631805" y="1965359"/>
                  <a:pt x="6684662" y="1864856"/>
                  <a:pt x="6570015" y="1854062"/>
                </a:cubicBezTo>
                <a:cubicBezTo>
                  <a:pt x="6555870" y="1852573"/>
                  <a:pt x="6542842" y="1842150"/>
                  <a:pt x="6554009" y="1827633"/>
                </a:cubicBezTo>
                <a:cubicBezTo>
                  <a:pt x="6592349" y="1778126"/>
                  <a:pt x="6545820" y="1781476"/>
                  <a:pt x="6517531" y="1775149"/>
                </a:cubicBezTo>
                <a:cubicBezTo>
                  <a:pt x="6483285" y="1767704"/>
                  <a:pt x="6444573" y="1789293"/>
                  <a:pt x="6412934" y="1762493"/>
                </a:cubicBezTo>
                <a:cubicBezTo>
                  <a:pt x="6420378" y="1734203"/>
                  <a:pt x="6447923" y="1734575"/>
                  <a:pt x="6467279" y="1725642"/>
                </a:cubicBezTo>
                <a:cubicBezTo>
                  <a:pt x="6523858" y="1699213"/>
                  <a:pt x="6570015" y="1667946"/>
                  <a:pt x="6572621" y="1600200"/>
                </a:cubicBezTo>
                <a:cubicBezTo>
                  <a:pt x="6574854" y="1545482"/>
                  <a:pt x="6580810" y="1497092"/>
                  <a:pt x="6502641" y="1480341"/>
                </a:cubicBezTo>
                <a:cubicBezTo>
                  <a:pt x="6490358" y="1477736"/>
                  <a:pt x="6484030" y="1470664"/>
                  <a:pt x="6481796" y="1461358"/>
                </a:cubicBezTo>
                <a:cubicBezTo>
                  <a:pt x="6490730" y="1452424"/>
                  <a:pt x="6499291" y="1443118"/>
                  <a:pt x="6509713" y="1436418"/>
                </a:cubicBezTo>
                <a:cubicBezTo>
                  <a:pt x="6544703" y="1414457"/>
                  <a:pt x="6556615" y="1382072"/>
                  <a:pt x="6567037" y="1348199"/>
                </a:cubicBezTo>
                <a:cubicBezTo>
                  <a:pt x="6573737" y="1326610"/>
                  <a:pt x="6581554" y="1305393"/>
                  <a:pt x="6596816" y="1286781"/>
                </a:cubicBezTo>
                <a:cubicBezTo>
                  <a:pt x="6606122" y="1275242"/>
                  <a:pt x="6617661" y="1266681"/>
                  <a:pt x="6632178" y="1261842"/>
                </a:cubicBezTo>
                <a:cubicBezTo>
                  <a:pt x="6644833" y="1257375"/>
                  <a:pt x="6648556" y="1251419"/>
                  <a:pt x="6639994" y="1240625"/>
                </a:cubicBezTo>
                <a:cubicBezTo>
                  <a:pt x="6615799" y="1209729"/>
                  <a:pt x="6606122" y="1175856"/>
                  <a:pt x="6622127" y="1136400"/>
                </a:cubicBezTo>
                <a:cubicBezTo>
                  <a:pt x="6626967" y="1124489"/>
                  <a:pt x="6623617" y="1114066"/>
                  <a:pt x="6612077" y="1109599"/>
                </a:cubicBezTo>
                <a:cubicBezTo>
                  <a:pt x="6564059" y="1090616"/>
                  <a:pt x="6552148" y="1046692"/>
                  <a:pt x="6531675" y="1009469"/>
                </a:cubicBezTo>
                <a:cubicBezTo>
                  <a:pt x="6502641" y="956612"/>
                  <a:pt x="6476213" y="902639"/>
                  <a:pt x="6456113" y="845315"/>
                </a:cubicBezTo>
                <a:cubicBezTo>
                  <a:pt x="6444201" y="811070"/>
                  <a:pt x="6432662" y="777197"/>
                  <a:pt x="6440851" y="739229"/>
                </a:cubicBezTo>
                <a:cubicBezTo>
                  <a:pt x="6442712" y="729924"/>
                  <a:pt x="6439362" y="722107"/>
                  <a:pt x="6434523" y="715034"/>
                </a:cubicBezTo>
                <a:cubicBezTo>
                  <a:pt x="6414050" y="684139"/>
                  <a:pt x="6416656" y="651383"/>
                  <a:pt x="6432290" y="617510"/>
                </a:cubicBezTo>
                <a:cubicBezTo>
                  <a:pt x="6441968" y="597037"/>
                  <a:pt x="6440851" y="594431"/>
                  <a:pt x="6416284" y="595176"/>
                </a:cubicBezTo>
                <a:cubicBezTo>
                  <a:pt x="6366405" y="596293"/>
                  <a:pt x="6316898" y="598154"/>
                  <a:pt x="6267763" y="591826"/>
                </a:cubicBezTo>
                <a:cubicBezTo>
                  <a:pt x="6212673" y="584753"/>
                  <a:pt x="6194806" y="568375"/>
                  <a:pt x="6236496" y="521102"/>
                </a:cubicBezTo>
                <a:cubicBezTo>
                  <a:pt x="6245430" y="511052"/>
                  <a:pt x="6253246" y="499885"/>
                  <a:pt x="6257341" y="487229"/>
                </a:cubicBezTo>
                <a:cubicBezTo>
                  <a:pt x="6260319" y="477179"/>
                  <a:pt x="6257713" y="470106"/>
                  <a:pt x="6248780" y="465267"/>
                </a:cubicBezTo>
                <a:cubicBezTo>
                  <a:pt x="6238357" y="459312"/>
                  <a:pt x="6232774" y="467501"/>
                  <a:pt x="6226818" y="473456"/>
                </a:cubicBezTo>
                <a:cubicBezTo>
                  <a:pt x="6194434" y="505468"/>
                  <a:pt x="6153861" y="527430"/>
                  <a:pt x="6115149" y="551625"/>
                </a:cubicBezTo>
                <a:cubicBezTo>
                  <a:pt x="6059686" y="586615"/>
                  <a:pt x="6001246" y="617510"/>
                  <a:pt x="5951739" y="659944"/>
                </a:cubicBezTo>
                <a:cubicBezTo>
                  <a:pt x="5939084" y="670739"/>
                  <a:pt x="5918611" y="662550"/>
                  <a:pt x="5917122" y="644310"/>
                </a:cubicBezTo>
                <a:cubicBezTo>
                  <a:pt x="5915633" y="626071"/>
                  <a:pt x="5905583" y="626071"/>
                  <a:pt x="5890694" y="630538"/>
                </a:cubicBezTo>
                <a:cubicBezTo>
                  <a:pt x="5872826" y="635749"/>
                  <a:pt x="5854959" y="640960"/>
                  <a:pt x="5837464" y="646916"/>
                </a:cubicBezTo>
                <a:cubicBezTo>
                  <a:pt x="5819225" y="653244"/>
                  <a:pt x="5811036" y="666644"/>
                  <a:pt x="5809175" y="683395"/>
                </a:cubicBezTo>
                <a:cubicBezTo>
                  <a:pt x="5808430" y="689723"/>
                  <a:pt x="5808803" y="697539"/>
                  <a:pt x="5815503" y="698656"/>
                </a:cubicBezTo>
                <a:cubicBezTo>
                  <a:pt x="5843048" y="703495"/>
                  <a:pt x="5755201" y="682278"/>
                  <a:pt x="5746268" y="667389"/>
                </a:cubicBezTo>
                <a:cubicBezTo>
                  <a:pt x="5745896" y="666644"/>
                  <a:pt x="5525907" y="720246"/>
                  <a:pt x="5458905" y="754119"/>
                </a:cubicBezTo>
                <a:close/>
                <a:moveTo>
                  <a:pt x="885302" y="1333310"/>
                </a:moveTo>
                <a:cubicBezTo>
                  <a:pt x="877857" y="1326982"/>
                  <a:pt x="870040" y="1321027"/>
                  <a:pt x="862596" y="1314326"/>
                </a:cubicBezTo>
                <a:cubicBezTo>
                  <a:pt x="863712" y="1312837"/>
                  <a:pt x="865201" y="1311349"/>
                  <a:pt x="866318" y="1309860"/>
                </a:cubicBezTo>
                <a:cubicBezTo>
                  <a:pt x="881580" y="1320282"/>
                  <a:pt x="896841" y="1330705"/>
                  <a:pt x="912103" y="1341127"/>
                </a:cubicBezTo>
                <a:cubicBezTo>
                  <a:pt x="903541" y="1338522"/>
                  <a:pt x="894235" y="1335916"/>
                  <a:pt x="885302" y="1333310"/>
                </a:cubicBezTo>
                <a:close/>
                <a:moveTo>
                  <a:pt x="1140280" y="787619"/>
                </a:moveTo>
                <a:cubicBezTo>
                  <a:pt x="1231849" y="850154"/>
                  <a:pt x="1323418" y="913061"/>
                  <a:pt x="1414987" y="975596"/>
                </a:cubicBezTo>
                <a:cubicBezTo>
                  <a:pt x="1413498" y="977085"/>
                  <a:pt x="1412381" y="978574"/>
                  <a:pt x="1410892" y="980063"/>
                </a:cubicBezTo>
                <a:cubicBezTo>
                  <a:pt x="1310390" y="927206"/>
                  <a:pt x="1215471" y="868394"/>
                  <a:pt x="1140280" y="787619"/>
                </a:cubicBezTo>
                <a:close/>
              </a:path>
            </a:pathLst>
          </a:custGeom>
          <a:solidFill>
            <a:schemeClr val="accent1">
              <a:alpha val="20000"/>
            </a:schemeClr>
          </a:solidFill>
          <a:ln w="32707"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807094A5-EB6F-441D-88F8-CD7A30C84707}"/>
              </a:ext>
            </a:extLst>
          </p:cNvPr>
          <p:cNvSpPr>
            <a:spLocks noGrp="1"/>
          </p:cNvSpPr>
          <p:nvPr>
            <p:ph type="ctrTitle"/>
          </p:nvPr>
        </p:nvSpPr>
        <p:spPr>
          <a:xfrm>
            <a:off x="1508760" y="1591056"/>
            <a:ext cx="5705856" cy="3264408"/>
          </a:xfrm>
        </p:spPr>
        <p:txBody>
          <a:bodyPr anchor="b">
            <a:normAutofit/>
          </a:bodyPr>
          <a:lstStyle>
            <a:lvl1pPr algn="l">
              <a:defRPr sz="4800"/>
            </a:lvl1pPr>
          </a:lstStyle>
          <a:p>
            <a:r>
              <a:rPr lang="en-US"/>
              <a:t>Click to edit Master title style</a:t>
            </a:r>
          </a:p>
        </p:txBody>
      </p:sp>
      <p:sp>
        <p:nvSpPr>
          <p:cNvPr id="3" name="Subtitle 2">
            <a:extLst>
              <a:ext uri="{FF2B5EF4-FFF2-40B4-BE49-F238E27FC236}">
                <a16:creationId xmlns:a16="http://schemas.microsoft.com/office/drawing/2014/main" id="{1C7CE1E3-3929-42A6-81B7-056BD88EF353}"/>
              </a:ext>
            </a:extLst>
          </p:cNvPr>
          <p:cNvSpPr>
            <a:spLocks noGrp="1"/>
          </p:cNvSpPr>
          <p:nvPr>
            <p:ph type="subTitle" idx="1"/>
          </p:nvPr>
        </p:nvSpPr>
        <p:spPr>
          <a:xfrm>
            <a:off x="1524000" y="4928616"/>
            <a:ext cx="5705856" cy="996696"/>
          </a:xfrm>
        </p:spPr>
        <p:txBody>
          <a:bodyPr/>
          <a:lstStyle>
            <a:lvl1pPr marL="0" indent="0" algn="l">
              <a:buNone/>
              <a:defRPr sz="240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CE951E3-0794-422C-AF76-0AD4A7FB19EB}"/>
              </a:ext>
            </a:extLst>
          </p:cNvPr>
          <p:cNvSpPr>
            <a:spLocks noGrp="1"/>
          </p:cNvSpPr>
          <p:nvPr>
            <p:ph type="dt" sz="half" idx="10"/>
          </p:nvPr>
        </p:nvSpPr>
        <p:spPr/>
        <p:txBody>
          <a:bodyPr/>
          <a:lstStyle/>
          <a:p>
            <a:fld id="{3C04E684-10F4-4CC3-A0B9-F03AA7BE37CF}" type="datetimeFigureOut">
              <a:rPr lang="en-US" smtClean="0"/>
              <a:t>11/25/2024</a:t>
            </a:fld>
            <a:endParaRPr lang="en-US"/>
          </a:p>
        </p:txBody>
      </p:sp>
      <p:sp>
        <p:nvSpPr>
          <p:cNvPr id="5" name="Footer Placeholder 4">
            <a:extLst>
              <a:ext uri="{FF2B5EF4-FFF2-40B4-BE49-F238E27FC236}">
                <a16:creationId xmlns:a16="http://schemas.microsoft.com/office/drawing/2014/main" id="{114EBFA8-0291-4D77-A9D9-B17FC2382A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7AC4D4-C4EE-4624-A329-C608A1D5AFE1}"/>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42645441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兩個內容">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
        <p:nvSpPr>
          <p:cNvPr id="3" name="Content Placeholder 2"/>
          <p:cNvSpPr>
            <a:spLocks noGrp="1"/>
          </p:cNvSpPr>
          <p:nvPr>
            <p:ph sz="half" idx="1"/>
          </p:nvPr>
        </p:nvSpPr>
        <p:spPr>
          <a:xfrm>
            <a:off x="838200" y="1608667"/>
            <a:ext cx="5181600" cy="4568296"/>
          </a:xfrm>
        </p:spPr>
        <p:txBody>
          <a:bodyPr lIns="0" tIns="0" rIns="0" bIns="0"/>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Content Placeholder 3"/>
          <p:cNvSpPr>
            <a:spLocks noGrp="1"/>
          </p:cNvSpPr>
          <p:nvPr>
            <p:ph sz="half" idx="2"/>
          </p:nvPr>
        </p:nvSpPr>
        <p:spPr>
          <a:xfrm>
            <a:off x="6172200" y="1608667"/>
            <a:ext cx="5181600" cy="4568296"/>
          </a:xfrm>
        </p:spPr>
        <p:txBody>
          <a:bodyPr lIns="0" tIns="0" rIns="0" bIns="0"/>
          <a:lstStyle/>
          <a:p>
            <a:pPr lvl="0"/>
            <a:r>
              <a:rPr lang="zh-TW" altLang="en-US"/>
              <a:t>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6" name="Footer Placeholder 5"/>
          <p:cNvSpPr>
            <a:spLocks noGrp="1"/>
          </p:cNvSpPr>
          <p:nvPr>
            <p:ph type="ftr" sz="quarter" idx="11"/>
          </p:nvPr>
        </p:nvSpPr>
        <p:spPr/>
        <p:txBody>
          <a:bodyPr/>
          <a:lstStyle/>
          <a:p>
            <a:r>
              <a:rPr lang="en-US"/>
              <a:t>© 2017 ALVOGEN. ALL RIGHTS RESERVED</a:t>
            </a:r>
          </a:p>
        </p:txBody>
      </p:sp>
      <p:sp>
        <p:nvSpPr>
          <p:cNvPr id="7" name="Slide Number Placeholder 6"/>
          <p:cNvSpPr>
            <a:spLocks noGrp="1"/>
          </p:cNvSpPr>
          <p:nvPr>
            <p:ph type="sldNum" sz="quarter" idx="12"/>
          </p:nvPr>
        </p:nvSpPr>
        <p:spPr/>
        <p:txBody>
          <a:bodyPr/>
          <a:lstStyle/>
          <a:p>
            <a:fld id="{4C0C40C3-3CCF-4B11-80C9-BCC62D2234EE}" type="slidenum">
              <a:rPr lang="en-US" smtClean="0"/>
              <a:t>‹#›</a:t>
            </a:fld>
            <a:endParaRPr lang="en-US"/>
          </a:p>
        </p:txBody>
      </p:sp>
      <p:sp>
        <p:nvSpPr>
          <p:cNvPr id="9" name="Text Placeholder 5">
            <a:extLst>
              <a:ext uri="{FF2B5EF4-FFF2-40B4-BE49-F238E27FC236}">
                <a16:creationId xmlns:a16="http://schemas.microsoft.com/office/drawing/2014/main" id="{CDF270F9-4F9A-4D11-B2C0-F69A75967FF1}"/>
              </a:ext>
            </a:extLst>
          </p:cNvPr>
          <p:cNvSpPr>
            <a:spLocks noGrp="1"/>
          </p:cNvSpPr>
          <p:nvPr>
            <p:ph type="body" sz="quarter" idx="13"/>
          </p:nvPr>
        </p:nvSpPr>
        <p:spPr>
          <a:xfrm>
            <a:off x="838200" y="756497"/>
            <a:ext cx="7496175" cy="221599"/>
          </a:xfrm>
        </p:spPr>
        <p:txBody>
          <a:bodyPr wrap="square" lIns="0" tIns="0" rIns="0" bIns="0">
            <a:spAutoFit/>
          </a:bodyPr>
          <a:lstStyle>
            <a:lvl1pPr marL="0" indent="0" algn="l" defTabSz="914400" rtl="0" eaLnBrk="1" latinLnBrk="0" hangingPunct="1">
              <a:buNone/>
              <a:defRPr lang="en-US" sz="1600" b="0" i="1" kern="1200" dirty="0" smtClean="0">
                <a:solidFill>
                  <a:schemeClr val="tx1"/>
                </a:solidFill>
                <a:latin typeface="+mj-lt"/>
                <a:ea typeface="+mn-ea"/>
                <a:cs typeface="+mn-cs"/>
              </a:defRPr>
            </a:lvl1pPr>
            <a:lvl2pPr marL="0" indent="0" algn="l" defTabSz="914400" rtl="0" eaLnBrk="1" latinLnBrk="0" hangingPunct="1">
              <a:buNone/>
              <a:defRPr lang="en-US" sz="1200" kern="1200" dirty="0" smtClean="0">
                <a:solidFill>
                  <a:schemeClr val="tx1"/>
                </a:solidFill>
                <a:latin typeface="+mn-lt"/>
                <a:ea typeface="+mn-ea"/>
                <a:cs typeface="+mn-cs"/>
              </a:defRPr>
            </a:lvl2pPr>
            <a:lvl3pPr marL="0" indent="0" algn="l" defTabSz="914400" rtl="0" eaLnBrk="1" latinLnBrk="0" hangingPunct="1">
              <a:buNone/>
              <a:defRPr lang="en-US" sz="1200" kern="1200" dirty="0" smtClean="0">
                <a:solidFill>
                  <a:schemeClr val="tx1"/>
                </a:solidFill>
                <a:latin typeface="+mn-lt"/>
                <a:ea typeface="+mn-ea"/>
                <a:cs typeface="+mn-cs"/>
              </a:defRPr>
            </a:lvl3pPr>
            <a:lvl4pPr marL="0" indent="0" algn="l" defTabSz="914400" rtl="0" eaLnBrk="1" latinLnBrk="0" hangingPunct="1">
              <a:buNone/>
              <a:defRPr lang="en-US" sz="1200" kern="1200" dirty="0" smtClean="0">
                <a:solidFill>
                  <a:schemeClr val="tx1"/>
                </a:solidFill>
                <a:latin typeface="+mn-lt"/>
                <a:ea typeface="+mn-ea"/>
                <a:cs typeface="+mn-cs"/>
              </a:defRPr>
            </a:lvl4pPr>
            <a:lvl5pPr marL="0" indent="0" algn="l" defTabSz="914400" rtl="0" eaLnBrk="1" latinLnBrk="0" hangingPunct="1">
              <a:buNone/>
              <a:defRPr lang="en-US" sz="1200" kern="1200" dirty="0">
                <a:solidFill>
                  <a:schemeClr val="tx1"/>
                </a:solidFill>
                <a:latin typeface="+mn-lt"/>
                <a:ea typeface="+mn-ea"/>
                <a:cs typeface="+mn-cs"/>
              </a:defRPr>
            </a:lvl5pPr>
          </a:lstStyle>
          <a:p>
            <a:pPr lvl="0"/>
            <a:r>
              <a:rPr lang="zh-TW" altLang="en-US"/>
              <a:t>編輯母片文字樣式</a:t>
            </a:r>
          </a:p>
        </p:txBody>
      </p:sp>
    </p:spTree>
    <p:extLst>
      <p:ext uri="{BB962C8B-B14F-4D97-AF65-F5344CB8AC3E}">
        <p14:creationId xmlns:p14="http://schemas.microsoft.com/office/powerpoint/2010/main" val="1339659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_Title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2DB9AFE-9933-B647-AC20-DDB72ED58DF5}"/>
              </a:ext>
            </a:extLst>
          </p:cNvPr>
          <p:cNvSpPr/>
          <p:nvPr userDrawn="1"/>
        </p:nvSpPr>
        <p:spPr>
          <a:xfrm>
            <a:off x="7761765" y="0"/>
            <a:ext cx="443023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C331DA91-167A-1649-A99E-F5021B7752BC}"/>
              </a:ext>
            </a:extLst>
          </p:cNvPr>
          <p:cNvSpPr/>
          <p:nvPr userDrawn="1"/>
        </p:nvSpPr>
        <p:spPr>
          <a:xfrm>
            <a:off x="346365" y="0"/>
            <a:ext cx="9733300" cy="17823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9B6E7C15-3A05-8148-8807-088E1FE6BF7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709788" y="869704"/>
            <a:ext cx="7602561" cy="5068374"/>
          </a:xfrm>
          <a:prstGeom prst="rect">
            <a:avLst/>
          </a:prstGeom>
        </p:spPr>
      </p:pic>
      <p:sp>
        <p:nvSpPr>
          <p:cNvPr id="14" name="Rectangle 13">
            <a:extLst>
              <a:ext uri="{FF2B5EF4-FFF2-40B4-BE49-F238E27FC236}">
                <a16:creationId xmlns:a16="http://schemas.microsoft.com/office/drawing/2014/main" id="{7D97288E-1CEC-0A49-A074-DEB84980F462}"/>
              </a:ext>
            </a:extLst>
          </p:cNvPr>
          <p:cNvSpPr/>
          <p:nvPr userDrawn="1"/>
        </p:nvSpPr>
        <p:spPr>
          <a:xfrm>
            <a:off x="979960" y="1937508"/>
            <a:ext cx="6781806" cy="2985366"/>
          </a:xfrm>
          <a:prstGeom prst="rect">
            <a:avLst/>
          </a:prstGeom>
          <a:solidFill>
            <a:schemeClr val="accent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E0ECBA9-0E91-BC4F-8E56-598DBA35BB04}"/>
              </a:ext>
            </a:extLst>
          </p:cNvPr>
          <p:cNvSpPr/>
          <p:nvPr userDrawn="1"/>
        </p:nvSpPr>
        <p:spPr>
          <a:xfrm>
            <a:off x="1633870" y="3661913"/>
            <a:ext cx="772998"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solidFill>
                <a:prstClr val="white"/>
              </a:solidFill>
            </a:endParaRPr>
          </a:p>
        </p:txBody>
      </p:sp>
      <p:sp>
        <p:nvSpPr>
          <p:cNvPr id="19" name="Title 1">
            <a:extLst>
              <a:ext uri="{FF2B5EF4-FFF2-40B4-BE49-F238E27FC236}">
                <a16:creationId xmlns:a16="http://schemas.microsoft.com/office/drawing/2014/main" id="{9C101AC5-6805-9042-A197-7121121CA837}"/>
              </a:ext>
            </a:extLst>
          </p:cNvPr>
          <p:cNvSpPr>
            <a:spLocks noGrp="1"/>
          </p:cNvSpPr>
          <p:nvPr>
            <p:ph type="ctrTitle" hasCustomPrompt="1"/>
          </p:nvPr>
        </p:nvSpPr>
        <p:spPr>
          <a:xfrm>
            <a:off x="1633870" y="2620380"/>
            <a:ext cx="5600700" cy="886397"/>
          </a:xfrm>
        </p:spPr>
        <p:txBody>
          <a:bodyPr anchor="b"/>
          <a:lstStyle>
            <a:lvl1pPr marL="0" algn="l" defTabSz="914400" rtl="0" eaLnBrk="1" latinLnBrk="0" hangingPunct="1">
              <a:defRPr lang="en-US" sz="3200" b="0" kern="1200" dirty="0">
                <a:solidFill>
                  <a:schemeClr val="bg1"/>
                </a:solidFill>
                <a:latin typeface="+mj-lt"/>
                <a:ea typeface="+mn-ea"/>
                <a:cs typeface="+mn-cs"/>
              </a:defRPr>
            </a:lvl1pPr>
          </a:lstStyle>
          <a:p>
            <a:r>
              <a:rPr lang="en-US"/>
              <a:t>CLICK TO EDIT MASTER TITLE STYLE</a:t>
            </a:r>
          </a:p>
        </p:txBody>
      </p:sp>
      <p:sp>
        <p:nvSpPr>
          <p:cNvPr id="20" name="Subtitle 2">
            <a:extLst>
              <a:ext uri="{FF2B5EF4-FFF2-40B4-BE49-F238E27FC236}">
                <a16:creationId xmlns:a16="http://schemas.microsoft.com/office/drawing/2014/main" id="{13431C9E-FED4-EE41-93DC-167607675F11}"/>
              </a:ext>
            </a:extLst>
          </p:cNvPr>
          <p:cNvSpPr>
            <a:spLocks noGrp="1"/>
          </p:cNvSpPr>
          <p:nvPr>
            <p:ph type="subTitle" idx="1" hasCustomPrompt="1"/>
          </p:nvPr>
        </p:nvSpPr>
        <p:spPr>
          <a:xfrm>
            <a:off x="1633870" y="3847177"/>
            <a:ext cx="5600700" cy="276999"/>
          </a:xfrm>
        </p:spPr>
        <p:txBody>
          <a:bodyPr wrap="square" lIns="0" tIns="0" rIns="0" bIns="0">
            <a:spAutoFit/>
          </a:bodyPr>
          <a:lstStyle>
            <a:lvl1pPr marL="0" indent="0" algn="l" defTabSz="914400" rtl="0" eaLnBrk="1" latinLnBrk="0" hangingPunct="1">
              <a:buNone/>
              <a:defRPr lang="en-US" sz="1800" kern="120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Rectangle 9">
            <a:extLst>
              <a:ext uri="{FF2B5EF4-FFF2-40B4-BE49-F238E27FC236}">
                <a16:creationId xmlns:a16="http://schemas.microsoft.com/office/drawing/2014/main" id="{ABFA1E69-50FB-FB44-8F4C-59C7CBD1CBE1}"/>
              </a:ext>
            </a:extLst>
          </p:cNvPr>
          <p:cNvSpPr/>
          <p:nvPr userDrawn="1"/>
        </p:nvSpPr>
        <p:spPr>
          <a:xfrm>
            <a:off x="-19010" y="5757332"/>
            <a:ext cx="2873046" cy="1100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lotus_alvogen_logos-01.png">
            <a:extLst>
              <a:ext uri="{FF2B5EF4-FFF2-40B4-BE49-F238E27FC236}">
                <a16:creationId xmlns:a16="http://schemas.microsoft.com/office/drawing/2014/main" id="{937727D0-03ED-4160-9B3B-749B97003CF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167" t="32431" r="11163" b="23811"/>
          <a:stretch/>
        </p:blipFill>
        <p:spPr>
          <a:xfrm>
            <a:off x="1117284" y="1196538"/>
            <a:ext cx="1588552" cy="489587"/>
          </a:xfrm>
          <a:prstGeom prst="rect">
            <a:avLst/>
          </a:prstGeom>
        </p:spPr>
      </p:pic>
    </p:spTree>
    <p:extLst>
      <p:ext uri="{BB962C8B-B14F-4D97-AF65-F5344CB8AC3E}">
        <p14:creationId xmlns:p14="http://schemas.microsoft.com/office/powerpoint/2010/main" val="21595751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8_Title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2DB9AFE-9933-B647-AC20-DDB72ED58DF5}"/>
              </a:ext>
            </a:extLst>
          </p:cNvPr>
          <p:cNvSpPr/>
          <p:nvPr userDrawn="1"/>
        </p:nvSpPr>
        <p:spPr>
          <a:xfrm>
            <a:off x="7761765" y="0"/>
            <a:ext cx="443023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C331DA91-167A-1649-A99E-F5021B7752BC}"/>
              </a:ext>
            </a:extLst>
          </p:cNvPr>
          <p:cNvSpPr/>
          <p:nvPr userDrawn="1"/>
        </p:nvSpPr>
        <p:spPr>
          <a:xfrm>
            <a:off x="346365" y="0"/>
            <a:ext cx="9733300" cy="17823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9B6E7C15-3A05-8148-8807-088E1FE6BF7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709788" y="869704"/>
            <a:ext cx="7602561" cy="5068374"/>
          </a:xfrm>
          <a:prstGeom prst="rect">
            <a:avLst/>
          </a:prstGeom>
        </p:spPr>
      </p:pic>
      <p:sp>
        <p:nvSpPr>
          <p:cNvPr id="14" name="Rectangle 13">
            <a:extLst>
              <a:ext uri="{FF2B5EF4-FFF2-40B4-BE49-F238E27FC236}">
                <a16:creationId xmlns:a16="http://schemas.microsoft.com/office/drawing/2014/main" id="{7D97288E-1CEC-0A49-A074-DEB84980F462}"/>
              </a:ext>
            </a:extLst>
          </p:cNvPr>
          <p:cNvSpPr/>
          <p:nvPr userDrawn="1"/>
        </p:nvSpPr>
        <p:spPr>
          <a:xfrm>
            <a:off x="979960" y="1937508"/>
            <a:ext cx="6781806" cy="2985366"/>
          </a:xfrm>
          <a:prstGeom prst="rect">
            <a:avLst/>
          </a:prstGeom>
          <a:solidFill>
            <a:schemeClr val="accent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E0ECBA9-0E91-BC4F-8E56-598DBA35BB04}"/>
              </a:ext>
            </a:extLst>
          </p:cNvPr>
          <p:cNvSpPr/>
          <p:nvPr userDrawn="1"/>
        </p:nvSpPr>
        <p:spPr>
          <a:xfrm>
            <a:off x="1633870" y="3661913"/>
            <a:ext cx="772998"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solidFill>
                <a:prstClr val="white"/>
              </a:solidFill>
            </a:endParaRPr>
          </a:p>
        </p:txBody>
      </p:sp>
      <p:sp>
        <p:nvSpPr>
          <p:cNvPr id="19" name="Title 1">
            <a:extLst>
              <a:ext uri="{FF2B5EF4-FFF2-40B4-BE49-F238E27FC236}">
                <a16:creationId xmlns:a16="http://schemas.microsoft.com/office/drawing/2014/main" id="{9C101AC5-6805-9042-A197-7121121CA837}"/>
              </a:ext>
            </a:extLst>
          </p:cNvPr>
          <p:cNvSpPr>
            <a:spLocks noGrp="1"/>
          </p:cNvSpPr>
          <p:nvPr>
            <p:ph type="ctrTitle" hasCustomPrompt="1"/>
          </p:nvPr>
        </p:nvSpPr>
        <p:spPr>
          <a:xfrm>
            <a:off x="1633870" y="2620380"/>
            <a:ext cx="5600700" cy="886397"/>
          </a:xfrm>
        </p:spPr>
        <p:txBody>
          <a:bodyPr anchor="b"/>
          <a:lstStyle>
            <a:lvl1pPr marL="0" algn="l" defTabSz="914400" rtl="0" eaLnBrk="1" latinLnBrk="0" hangingPunct="1">
              <a:defRPr lang="en-US" sz="3200" b="0" kern="1200" dirty="0">
                <a:solidFill>
                  <a:schemeClr val="bg1"/>
                </a:solidFill>
                <a:latin typeface="+mj-lt"/>
                <a:ea typeface="+mn-ea"/>
                <a:cs typeface="+mn-cs"/>
              </a:defRPr>
            </a:lvl1pPr>
          </a:lstStyle>
          <a:p>
            <a:r>
              <a:rPr lang="en-US"/>
              <a:t>CLICK TO EDIT MASTER TITLE STYLE</a:t>
            </a:r>
          </a:p>
        </p:txBody>
      </p:sp>
      <p:sp>
        <p:nvSpPr>
          <p:cNvPr id="20" name="Subtitle 2">
            <a:extLst>
              <a:ext uri="{FF2B5EF4-FFF2-40B4-BE49-F238E27FC236}">
                <a16:creationId xmlns:a16="http://schemas.microsoft.com/office/drawing/2014/main" id="{13431C9E-FED4-EE41-93DC-167607675F11}"/>
              </a:ext>
            </a:extLst>
          </p:cNvPr>
          <p:cNvSpPr>
            <a:spLocks noGrp="1"/>
          </p:cNvSpPr>
          <p:nvPr>
            <p:ph type="subTitle" idx="1" hasCustomPrompt="1"/>
          </p:nvPr>
        </p:nvSpPr>
        <p:spPr>
          <a:xfrm>
            <a:off x="1633870" y="3847177"/>
            <a:ext cx="5600700" cy="276999"/>
          </a:xfrm>
        </p:spPr>
        <p:txBody>
          <a:bodyPr wrap="square" lIns="0" tIns="0" rIns="0" bIns="0">
            <a:spAutoFit/>
          </a:bodyPr>
          <a:lstStyle>
            <a:lvl1pPr marL="0" indent="0" algn="l" defTabSz="914400" rtl="0" eaLnBrk="1" latinLnBrk="0" hangingPunct="1">
              <a:buNone/>
              <a:defRPr lang="en-US" sz="1800" kern="120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Rectangle 9">
            <a:extLst>
              <a:ext uri="{FF2B5EF4-FFF2-40B4-BE49-F238E27FC236}">
                <a16:creationId xmlns:a16="http://schemas.microsoft.com/office/drawing/2014/main" id="{ABFA1E69-50FB-FB44-8F4C-59C7CBD1CBE1}"/>
              </a:ext>
            </a:extLst>
          </p:cNvPr>
          <p:cNvSpPr/>
          <p:nvPr userDrawn="1"/>
        </p:nvSpPr>
        <p:spPr>
          <a:xfrm>
            <a:off x="-19010" y="5757332"/>
            <a:ext cx="2873046" cy="1100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lotus_alvogen_logos-01.png">
            <a:extLst>
              <a:ext uri="{FF2B5EF4-FFF2-40B4-BE49-F238E27FC236}">
                <a16:creationId xmlns:a16="http://schemas.microsoft.com/office/drawing/2014/main" id="{AE122C8D-3C21-4E93-BDC8-B0A0826CFC2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167" t="32431" r="11163" b="23811"/>
          <a:stretch/>
        </p:blipFill>
        <p:spPr>
          <a:xfrm>
            <a:off x="1117284" y="1196538"/>
            <a:ext cx="1588552" cy="489587"/>
          </a:xfrm>
          <a:prstGeom prst="rect">
            <a:avLst/>
          </a:prstGeom>
        </p:spPr>
      </p:pic>
    </p:spTree>
    <p:extLst>
      <p:ext uri="{BB962C8B-B14F-4D97-AF65-F5344CB8AC3E}">
        <p14:creationId xmlns:p14="http://schemas.microsoft.com/office/powerpoint/2010/main" val="3660859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_Title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2DB9AFE-9933-B647-AC20-DDB72ED58DF5}"/>
              </a:ext>
            </a:extLst>
          </p:cNvPr>
          <p:cNvSpPr/>
          <p:nvPr userDrawn="1"/>
        </p:nvSpPr>
        <p:spPr>
          <a:xfrm>
            <a:off x="8155171" y="0"/>
            <a:ext cx="4036829"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C331DA91-167A-1649-A99E-F5021B7752BC}"/>
              </a:ext>
            </a:extLst>
          </p:cNvPr>
          <p:cNvSpPr/>
          <p:nvPr userDrawn="1"/>
        </p:nvSpPr>
        <p:spPr>
          <a:xfrm>
            <a:off x="346365" y="0"/>
            <a:ext cx="9733300" cy="1937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rotWithShape="1">
          <a:blip r:embed="rId2" cstate="print">
            <a:extLst>
              <a:ext uri="{28A0092B-C50C-407E-A947-70E740481C1C}">
                <a14:useLocalDpi xmlns:a14="http://schemas.microsoft.com/office/drawing/2010/main"/>
              </a:ext>
            </a:extLst>
          </a:blip>
          <a:srcRect b="-5543"/>
          <a:stretch/>
        </p:blipFill>
        <p:spPr>
          <a:xfrm>
            <a:off x="3945608" y="919537"/>
            <a:ext cx="7400429" cy="5479707"/>
          </a:xfrm>
          <a:prstGeom prst="rect">
            <a:avLst/>
          </a:prstGeom>
        </p:spPr>
      </p:pic>
      <p:sp>
        <p:nvSpPr>
          <p:cNvPr id="13" name="Rectangle 12">
            <a:extLst>
              <a:ext uri="{FF2B5EF4-FFF2-40B4-BE49-F238E27FC236}">
                <a16:creationId xmlns:a16="http://schemas.microsoft.com/office/drawing/2014/main" id="{4BAAA44F-F100-4542-A185-F0A6AE4857B4}"/>
              </a:ext>
            </a:extLst>
          </p:cNvPr>
          <p:cNvSpPr/>
          <p:nvPr userDrawn="1"/>
        </p:nvSpPr>
        <p:spPr>
          <a:xfrm>
            <a:off x="979959" y="1937508"/>
            <a:ext cx="7175213" cy="2985366"/>
          </a:xfrm>
          <a:prstGeom prst="rect">
            <a:avLst/>
          </a:prstGeom>
          <a:solidFill>
            <a:schemeClr val="accent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D8F4CD05-E3ED-DD4E-9133-87E8E0C8A83E}"/>
              </a:ext>
            </a:extLst>
          </p:cNvPr>
          <p:cNvSpPr/>
          <p:nvPr userDrawn="1"/>
        </p:nvSpPr>
        <p:spPr>
          <a:xfrm>
            <a:off x="1633870" y="3661913"/>
            <a:ext cx="772998"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solidFill>
                <a:prstClr val="white"/>
              </a:solidFill>
            </a:endParaRPr>
          </a:p>
        </p:txBody>
      </p:sp>
      <p:sp>
        <p:nvSpPr>
          <p:cNvPr id="17" name="Title 1">
            <a:extLst>
              <a:ext uri="{FF2B5EF4-FFF2-40B4-BE49-F238E27FC236}">
                <a16:creationId xmlns:a16="http://schemas.microsoft.com/office/drawing/2014/main" id="{86F046FA-60FD-7F42-954F-3EC5C8EDDC2F}"/>
              </a:ext>
            </a:extLst>
          </p:cNvPr>
          <p:cNvSpPr>
            <a:spLocks noGrp="1"/>
          </p:cNvSpPr>
          <p:nvPr>
            <p:ph type="ctrTitle" hasCustomPrompt="1"/>
          </p:nvPr>
        </p:nvSpPr>
        <p:spPr>
          <a:xfrm>
            <a:off x="1633870" y="2620380"/>
            <a:ext cx="5600700" cy="886397"/>
          </a:xfrm>
        </p:spPr>
        <p:txBody>
          <a:bodyPr anchor="b"/>
          <a:lstStyle>
            <a:lvl1pPr marL="0" algn="l" defTabSz="914400" rtl="0" eaLnBrk="1" latinLnBrk="0" hangingPunct="1">
              <a:defRPr lang="en-US" sz="3200" b="0" kern="1200" dirty="0">
                <a:solidFill>
                  <a:schemeClr val="bg1"/>
                </a:solidFill>
                <a:latin typeface="+mj-lt"/>
                <a:ea typeface="+mn-ea"/>
                <a:cs typeface="+mn-cs"/>
              </a:defRPr>
            </a:lvl1pPr>
          </a:lstStyle>
          <a:p>
            <a:r>
              <a:rPr lang="en-US"/>
              <a:t>CLICK TO EDIT MASTER TITLE STYLE</a:t>
            </a:r>
          </a:p>
        </p:txBody>
      </p:sp>
      <p:sp>
        <p:nvSpPr>
          <p:cNvPr id="19" name="Subtitle 2">
            <a:extLst>
              <a:ext uri="{FF2B5EF4-FFF2-40B4-BE49-F238E27FC236}">
                <a16:creationId xmlns:a16="http://schemas.microsoft.com/office/drawing/2014/main" id="{BBBB6174-482D-8347-A808-270CFA157479}"/>
              </a:ext>
            </a:extLst>
          </p:cNvPr>
          <p:cNvSpPr>
            <a:spLocks noGrp="1"/>
          </p:cNvSpPr>
          <p:nvPr>
            <p:ph type="subTitle" idx="1" hasCustomPrompt="1"/>
          </p:nvPr>
        </p:nvSpPr>
        <p:spPr>
          <a:xfrm>
            <a:off x="1633870" y="3847177"/>
            <a:ext cx="5600700" cy="276999"/>
          </a:xfrm>
        </p:spPr>
        <p:txBody>
          <a:bodyPr wrap="square" lIns="0" tIns="0" rIns="0" bIns="0">
            <a:spAutoFit/>
          </a:bodyPr>
          <a:lstStyle>
            <a:lvl1pPr marL="0" indent="0" algn="l" defTabSz="914400" rtl="0" eaLnBrk="1" latinLnBrk="0" hangingPunct="1">
              <a:buNone/>
              <a:defRPr lang="en-US" sz="1800" kern="120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Rectangle 19">
            <a:extLst>
              <a:ext uri="{FF2B5EF4-FFF2-40B4-BE49-F238E27FC236}">
                <a16:creationId xmlns:a16="http://schemas.microsoft.com/office/drawing/2014/main" id="{034FAD5F-E1F6-B041-8D67-EEC8BE064D3A}"/>
              </a:ext>
            </a:extLst>
          </p:cNvPr>
          <p:cNvSpPr/>
          <p:nvPr userDrawn="1"/>
        </p:nvSpPr>
        <p:spPr>
          <a:xfrm>
            <a:off x="-19010" y="5757332"/>
            <a:ext cx="2873046" cy="1100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lotus_alvogen_logos-01.png">
            <a:extLst>
              <a:ext uri="{FF2B5EF4-FFF2-40B4-BE49-F238E27FC236}">
                <a16:creationId xmlns:a16="http://schemas.microsoft.com/office/drawing/2014/main" id="{2F1AA8A9-88B8-41B1-8A53-4D7946048AD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167" t="32431" r="11163" b="23811"/>
          <a:stretch/>
        </p:blipFill>
        <p:spPr>
          <a:xfrm>
            <a:off x="1117284" y="1196538"/>
            <a:ext cx="1588552" cy="489587"/>
          </a:xfrm>
          <a:prstGeom prst="rect">
            <a:avLst/>
          </a:prstGeom>
        </p:spPr>
      </p:pic>
    </p:spTree>
    <p:extLst>
      <p:ext uri="{BB962C8B-B14F-4D97-AF65-F5344CB8AC3E}">
        <p14:creationId xmlns:p14="http://schemas.microsoft.com/office/powerpoint/2010/main" val="9535171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4_Title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2DB9AFE-9933-B647-AC20-DDB72ED58DF5}"/>
              </a:ext>
            </a:extLst>
          </p:cNvPr>
          <p:cNvSpPr/>
          <p:nvPr userDrawn="1"/>
        </p:nvSpPr>
        <p:spPr>
          <a:xfrm>
            <a:off x="8157984" y="0"/>
            <a:ext cx="4034016"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C331DA91-167A-1649-A99E-F5021B7752BC}"/>
              </a:ext>
            </a:extLst>
          </p:cNvPr>
          <p:cNvSpPr/>
          <p:nvPr userDrawn="1"/>
        </p:nvSpPr>
        <p:spPr>
          <a:xfrm>
            <a:off x="374073" y="0"/>
            <a:ext cx="9705591" cy="1937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9B6E7C15-3A05-8148-8807-088E1FE6BF7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945606" y="919536"/>
            <a:ext cx="7400430" cy="5194696"/>
          </a:xfrm>
          <a:prstGeom prst="rect">
            <a:avLst/>
          </a:prstGeom>
        </p:spPr>
      </p:pic>
      <p:sp>
        <p:nvSpPr>
          <p:cNvPr id="14" name="Rectangle 13">
            <a:extLst>
              <a:ext uri="{FF2B5EF4-FFF2-40B4-BE49-F238E27FC236}">
                <a16:creationId xmlns:a16="http://schemas.microsoft.com/office/drawing/2014/main" id="{7D97288E-1CEC-0A49-A074-DEB84980F462}"/>
              </a:ext>
            </a:extLst>
          </p:cNvPr>
          <p:cNvSpPr/>
          <p:nvPr userDrawn="1"/>
        </p:nvSpPr>
        <p:spPr>
          <a:xfrm>
            <a:off x="979959" y="1937508"/>
            <a:ext cx="7178025" cy="2985366"/>
          </a:xfrm>
          <a:prstGeom prst="rect">
            <a:avLst/>
          </a:prstGeom>
          <a:solidFill>
            <a:schemeClr val="accent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E0ECBA9-0E91-BC4F-8E56-598DBA35BB04}"/>
              </a:ext>
            </a:extLst>
          </p:cNvPr>
          <p:cNvSpPr/>
          <p:nvPr userDrawn="1"/>
        </p:nvSpPr>
        <p:spPr>
          <a:xfrm>
            <a:off x="1633870" y="3661913"/>
            <a:ext cx="772998"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solidFill>
                <a:prstClr val="white"/>
              </a:solidFill>
            </a:endParaRPr>
          </a:p>
        </p:txBody>
      </p:sp>
      <p:sp>
        <p:nvSpPr>
          <p:cNvPr id="19" name="Title 1">
            <a:extLst>
              <a:ext uri="{FF2B5EF4-FFF2-40B4-BE49-F238E27FC236}">
                <a16:creationId xmlns:a16="http://schemas.microsoft.com/office/drawing/2014/main" id="{9C101AC5-6805-9042-A197-7121121CA837}"/>
              </a:ext>
            </a:extLst>
          </p:cNvPr>
          <p:cNvSpPr>
            <a:spLocks noGrp="1"/>
          </p:cNvSpPr>
          <p:nvPr>
            <p:ph type="ctrTitle" hasCustomPrompt="1"/>
          </p:nvPr>
        </p:nvSpPr>
        <p:spPr>
          <a:xfrm>
            <a:off x="1633870" y="2620380"/>
            <a:ext cx="5600700" cy="886397"/>
          </a:xfrm>
        </p:spPr>
        <p:txBody>
          <a:bodyPr anchor="b"/>
          <a:lstStyle>
            <a:lvl1pPr marL="0" algn="l" defTabSz="914400" rtl="0" eaLnBrk="1" latinLnBrk="0" hangingPunct="1">
              <a:defRPr lang="en-US" sz="3200" b="0" kern="1200" dirty="0">
                <a:solidFill>
                  <a:schemeClr val="bg1"/>
                </a:solidFill>
                <a:latin typeface="+mj-lt"/>
                <a:ea typeface="+mn-ea"/>
                <a:cs typeface="+mn-cs"/>
              </a:defRPr>
            </a:lvl1pPr>
          </a:lstStyle>
          <a:p>
            <a:r>
              <a:rPr lang="en-US"/>
              <a:t>CLICK TO EDIT MASTER TITLE STYLE</a:t>
            </a:r>
          </a:p>
        </p:txBody>
      </p:sp>
      <p:sp>
        <p:nvSpPr>
          <p:cNvPr id="20" name="Subtitle 2">
            <a:extLst>
              <a:ext uri="{FF2B5EF4-FFF2-40B4-BE49-F238E27FC236}">
                <a16:creationId xmlns:a16="http://schemas.microsoft.com/office/drawing/2014/main" id="{13431C9E-FED4-EE41-93DC-167607675F11}"/>
              </a:ext>
            </a:extLst>
          </p:cNvPr>
          <p:cNvSpPr>
            <a:spLocks noGrp="1"/>
          </p:cNvSpPr>
          <p:nvPr>
            <p:ph type="subTitle" idx="1" hasCustomPrompt="1"/>
          </p:nvPr>
        </p:nvSpPr>
        <p:spPr>
          <a:xfrm>
            <a:off x="1633870" y="3847177"/>
            <a:ext cx="5600700" cy="276999"/>
          </a:xfrm>
        </p:spPr>
        <p:txBody>
          <a:bodyPr wrap="square" lIns="0" tIns="0" rIns="0" bIns="0">
            <a:spAutoFit/>
          </a:bodyPr>
          <a:lstStyle>
            <a:lvl1pPr marL="0" indent="0" algn="l" defTabSz="914400" rtl="0" eaLnBrk="1" latinLnBrk="0" hangingPunct="1">
              <a:buNone/>
              <a:defRPr lang="en-US" sz="1800" kern="120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Rectangle 20">
            <a:extLst>
              <a:ext uri="{FF2B5EF4-FFF2-40B4-BE49-F238E27FC236}">
                <a16:creationId xmlns:a16="http://schemas.microsoft.com/office/drawing/2014/main" id="{6A527735-49FA-3944-B1D4-2C532D2AE77F}"/>
              </a:ext>
            </a:extLst>
          </p:cNvPr>
          <p:cNvSpPr/>
          <p:nvPr userDrawn="1"/>
        </p:nvSpPr>
        <p:spPr>
          <a:xfrm>
            <a:off x="-19010" y="5757332"/>
            <a:ext cx="2873046" cy="1100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lotus_alvogen_logos-01.png">
            <a:extLst>
              <a:ext uri="{FF2B5EF4-FFF2-40B4-BE49-F238E27FC236}">
                <a16:creationId xmlns:a16="http://schemas.microsoft.com/office/drawing/2014/main" id="{50976B61-6547-4793-9C30-D11B3CCCE85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167" t="32431" r="11163" b="23811"/>
          <a:stretch/>
        </p:blipFill>
        <p:spPr>
          <a:xfrm>
            <a:off x="1117284" y="1196538"/>
            <a:ext cx="1588552" cy="489587"/>
          </a:xfrm>
          <a:prstGeom prst="rect">
            <a:avLst/>
          </a:prstGeom>
        </p:spPr>
      </p:pic>
    </p:spTree>
    <p:extLst>
      <p:ext uri="{BB962C8B-B14F-4D97-AF65-F5344CB8AC3E}">
        <p14:creationId xmlns:p14="http://schemas.microsoft.com/office/powerpoint/2010/main" val="1978490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5_Title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2DB9AFE-9933-B647-AC20-DDB72ED58DF5}"/>
              </a:ext>
            </a:extLst>
          </p:cNvPr>
          <p:cNvSpPr/>
          <p:nvPr userDrawn="1"/>
        </p:nvSpPr>
        <p:spPr>
          <a:xfrm>
            <a:off x="8157984" y="0"/>
            <a:ext cx="4034016"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C331DA91-167A-1649-A99E-F5021B7752BC}"/>
              </a:ext>
            </a:extLst>
          </p:cNvPr>
          <p:cNvSpPr/>
          <p:nvPr userDrawn="1"/>
        </p:nvSpPr>
        <p:spPr>
          <a:xfrm>
            <a:off x="374073" y="0"/>
            <a:ext cx="9705591" cy="1937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圖片 2">
            <a:extLst>
              <a:ext uri="{FF2B5EF4-FFF2-40B4-BE49-F238E27FC236}">
                <a16:creationId xmlns:a16="http://schemas.microsoft.com/office/drawing/2014/main" id="{53227774-FEF4-47DD-B207-873D9329A36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38431" y="1107759"/>
            <a:ext cx="7445088" cy="4963392"/>
          </a:xfrm>
          <a:prstGeom prst="rect">
            <a:avLst/>
          </a:prstGeom>
        </p:spPr>
      </p:pic>
      <p:sp>
        <p:nvSpPr>
          <p:cNvPr id="14" name="Rectangle 13">
            <a:extLst>
              <a:ext uri="{FF2B5EF4-FFF2-40B4-BE49-F238E27FC236}">
                <a16:creationId xmlns:a16="http://schemas.microsoft.com/office/drawing/2014/main" id="{7D97288E-1CEC-0A49-A074-DEB84980F462}"/>
              </a:ext>
            </a:extLst>
          </p:cNvPr>
          <p:cNvSpPr/>
          <p:nvPr userDrawn="1"/>
        </p:nvSpPr>
        <p:spPr>
          <a:xfrm>
            <a:off x="979959" y="1937508"/>
            <a:ext cx="7178025" cy="2985366"/>
          </a:xfrm>
          <a:prstGeom prst="rect">
            <a:avLst/>
          </a:prstGeom>
          <a:solidFill>
            <a:schemeClr val="accent2">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8E0ECBA9-0E91-BC4F-8E56-598DBA35BB04}"/>
              </a:ext>
            </a:extLst>
          </p:cNvPr>
          <p:cNvSpPr/>
          <p:nvPr userDrawn="1"/>
        </p:nvSpPr>
        <p:spPr>
          <a:xfrm>
            <a:off x="1633870" y="3661913"/>
            <a:ext cx="772998" cy="4571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solidFill>
                <a:prstClr val="white"/>
              </a:solidFill>
            </a:endParaRPr>
          </a:p>
        </p:txBody>
      </p:sp>
      <p:sp>
        <p:nvSpPr>
          <p:cNvPr id="19" name="Title 1">
            <a:extLst>
              <a:ext uri="{FF2B5EF4-FFF2-40B4-BE49-F238E27FC236}">
                <a16:creationId xmlns:a16="http://schemas.microsoft.com/office/drawing/2014/main" id="{9C101AC5-6805-9042-A197-7121121CA837}"/>
              </a:ext>
            </a:extLst>
          </p:cNvPr>
          <p:cNvSpPr>
            <a:spLocks noGrp="1"/>
          </p:cNvSpPr>
          <p:nvPr>
            <p:ph type="ctrTitle" hasCustomPrompt="1"/>
          </p:nvPr>
        </p:nvSpPr>
        <p:spPr>
          <a:xfrm>
            <a:off x="1633870" y="2620380"/>
            <a:ext cx="5600700" cy="886397"/>
          </a:xfrm>
        </p:spPr>
        <p:txBody>
          <a:bodyPr anchor="b"/>
          <a:lstStyle>
            <a:lvl1pPr marL="0" algn="l" defTabSz="914400" rtl="0" eaLnBrk="1" latinLnBrk="0" hangingPunct="1">
              <a:defRPr lang="en-US" sz="3200" b="0" kern="1200" dirty="0">
                <a:solidFill>
                  <a:schemeClr val="bg1"/>
                </a:solidFill>
                <a:latin typeface="+mj-lt"/>
                <a:ea typeface="+mn-ea"/>
                <a:cs typeface="+mn-cs"/>
              </a:defRPr>
            </a:lvl1pPr>
          </a:lstStyle>
          <a:p>
            <a:r>
              <a:rPr lang="en-US"/>
              <a:t>CLICK TO EDIT MASTER TITLE STYLE</a:t>
            </a:r>
          </a:p>
        </p:txBody>
      </p:sp>
      <p:sp>
        <p:nvSpPr>
          <p:cNvPr id="20" name="Subtitle 2">
            <a:extLst>
              <a:ext uri="{FF2B5EF4-FFF2-40B4-BE49-F238E27FC236}">
                <a16:creationId xmlns:a16="http://schemas.microsoft.com/office/drawing/2014/main" id="{13431C9E-FED4-EE41-93DC-167607675F11}"/>
              </a:ext>
            </a:extLst>
          </p:cNvPr>
          <p:cNvSpPr>
            <a:spLocks noGrp="1"/>
          </p:cNvSpPr>
          <p:nvPr>
            <p:ph type="subTitle" idx="1" hasCustomPrompt="1"/>
          </p:nvPr>
        </p:nvSpPr>
        <p:spPr>
          <a:xfrm>
            <a:off x="1633870" y="3847177"/>
            <a:ext cx="5600700" cy="276999"/>
          </a:xfrm>
        </p:spPr>
        <p:txBody>
          <a:bodyPr wrap="square" lIns="0" tIns="0" rIns="0" bIns="0">
            <a:spAutoFit/>
          </a:bodyPr>
          <a:lstStyle>
            <a:lvl1pPr marL="0" indent="0" algn="l" defTabSz="914400" rtl="0" eaLnBrk="1" latinLnBrk="0" hangingPunct="1">
              <a:buNone/>
              <a:defRPr lang="en-US" sz="1800" kern="1200" dirty="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Rectangle 20">
            <a:extLst>
              <a:ext uri="{FF2B5EF4-FFF2-40B4-BE49-F238E27FC236}">
                <a16:creationId xmlns:a16="http://schemas.microsoft.com/office/drawing/2014/main" id="{6A527735-49FA-3944-B1D4-2C532D2AE77F}"/>
              </a:ext>
            </a:extLst>
          </p:cNvPr>
          <p:cNvSpPr/>
          <p:nvPr userDrawn="1"/>
        </p:nvSpPr>
        <p:spPr>
          <a:xfrm>
            <a:off x="-19010" y="5757332"/>
            <a:ext cx="2873046" cy="11006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lotus_alvogen_logos-01.png">
            <a:extLst>
              <a:ext uri="{FF2B5EF4-FFF2-40B4-BE49-F238E27FC236}">
                <a16:creationId xmlns:a16="http://schemas.microsoft.com/office/drawing/2014/main" id="{50976B61-6547-4793-9C30-D11B3CCCE85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167" t="32431" r="11163" b="23811"/>
          <a:stretch/>
        </p:blipFill>
        <p:spPr>
          <a:xfrm>
            <a:off x="1117284" y="1196538"/>
            <a:ext cx="1588552" cy="489587"/>
          </a:xfrm>
          <a:prstGeom prst="rect">
            <a:avLst/>
          </a:prstGeom>
        </p:spPr>
      </p:pic>
    </p:spTree>
    <p:extLst>
      <p:ext uri="{BB962C8B-B14F-4D97-AF65-F5344CB8AC3E}">
        <p14:creationId xmlns:p14="http://schemas.microsoft.com/office/powerpoint/2010/main" val="22769174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FB4942-B028-224C-BD28-AD372D366181}"/>
              </a:ext>
            </a:extLst>
          </p:cNvPr>
          <p:cNvSpPr/>
          <p:nvPr userDrawn="1"/>
        </p:nvSpPr>
        <p:spPr>
          <a:xfrm>
            <a:off x="7761765" y="0"/>
            <a:ext cx="4430235"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90D36039-7D45-634A-A4C3-BC402397D357}"/>
              </a:ext>
            </a:extLst>
          </p:cNvPr>
          <p:cNvSpPr/>
          <p:nvPr userDrawn="1"/>
        </p:nvSpPr>
        <p:spPr>
          <a:xfrm>
            <a:off x="5082361" y="-1"/>
            <a:ext cx="4997303" cy="5874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4436BE21-D4F0-C040-88D0-81BAA3FDA677}"/>
              </a:ext>
            </a:extLst>
          </p:cNvPr>
          <p:cNvSpPr/>
          <p:nvPr userDrawn="1"/>
        </p:nvSpPr>
        <p:spPr>
          <a:xfrm>
            <a:off x="0" y="0"/>
            <a:ext cx="70519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1A250F63-E835-43E8-B062-06E9C2F7B7D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781674" y="969761"/>
            <a:ext cx="5725642" cy="4918477"/>
          </a:xfrm>
          <a:prstGeom prst="rect">
            <a:avLst/>
          </a:prstGeom>
        </p:spPr>
      </p:pic>
      <p:pic>
        <p:nvPicPr>
          <p:cNvPr id="8" name="Picture 7" descr="lotus_alvogen_logos-01.png">
            <a:extLst>
              <a:ext uri="{FF2B5EF4-FFF2-40B4-BE49-F238E27FC236}">
                <a16:creationId xmlns:a16="http://schemas.microsoft.com/office/drawing/2014/main" id="{2479D28C-E895-40D6-87FE-8419F287B06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61167" t="32431" r="11163" b="23811"/>
          <a:stretch/>
        </p:blipFill>
        <p:spPr>
          <a:xfrm>
            <a:off x="8168646" y="319617"/>
            <a:ext cx="1588552" cy="489587"/>
          </a:xfrm>
          <a:prstGeom prst="rect">
            <a:avLst/>
          </a:prstGeom>
        </p:spPr>
      </p:pic>
    </p:spTree>
    <p:extLst>
      <p:ext uri="{BB962C8B-B14F-4D97-AF65-F5344CB8AC3E}">
        <p14:creationId xmlns:p14="http://schemas.microsoft.com/office/powerpoint/2010/main" val="266315207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AA5E2DA-C641-4476-8842-3D29B43E4678}"/>
              </a:ext>
            </a:extLst>
          </p:cNvPr>
          <p:cNvGraphicFramePr>
            <a:graphicFrameLocks noChangeAspect="1"/>
          </p:cNvGraphicFramePr>
          <p:nvPr userDrawn="1">
            <p:custDataLst>
              <p:tags r:id="rId38"/>
            </p:custDataLst>
            <p:extLst>
              <p:ext uri="{D42A27DB-BD31-4B8C-83A1-F6EECF244321}">
                <p14:modId xmlns:p14="http://schemas.microsoft.com/office/powerpoint/2010/main" val="300941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21" imgH="423" progId="TCLayout.ActiveDocument.1">
                  <p:embed/>
                </p:oleObj>
              </mc:Choice>
              <mc:Fallback>
                <p:oleObj name="think-cell Slide" r:id="rId40" imgW="421" imgH="423" progId="TCLayout.ActiveDocument.1">
                  <p:embed/>
                  <p:pic>
                    <p:nvPicPr>
                      <p:cNvPr id="6" name="Object 5" hidden="1">
                        <a:extLst>
                          <a:ext uri="{FF2B5EF4-FFF2-40B4-BE49-F238E27FC236}">
                            <a16:creationId xmlns:a16="http://schemas.microsoft.com/office/drawing/2014/main" id="{AAA5E2DA-C641-4476-8842-3D29B43E4678}"/>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CFA021-29BB-4A5D-9DF8-3B9007350C63}"/>
              </a:ext>
            </a:extLst>
          </p:cNvPr>
          <p:cNvSpPr/>
          <p:nvPr userDrawn="1">
            <p:custDataLst>
              <p:tags r:id="rId3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a:latin typeface="Montserrat" panose="020B0604020202020204" charset="0"/>
              <a:ea typeface="+mj-ea"/>
              <a:cs typeface="+mj-cs"/>
              <a:sym typeface="Montserrat" panose="020B0604020202020204" charset="0"/>
            </a:endParaRPr>
          </a:p>
        </p:txBody>
      </p:sp>
      <p:sp>
        <p:nvSpPr>
          <p:cNvPr id="17" name="Rectangle 16">
            <a:extLst>
              <a:ext uri="{FF2B5EF4-FFF2-40B4-BE49-F238E27FC236}">
                <a16:creationId xmlns:a16="http://schemas.microsoft.com/office/drawing/2014/main" id="{5D92F506-0B16-354C-A86B-E1964C6C6BA9}"/>
              </a:ext>
            </a:extLst>
          </p:cNvPr>
          <p:cNvSpPr/>
          <p:nvPr userDrawn="1"/>
        </p:nvSpPr>
        <p:spPr>
          <a:xfrm>
            <a:off x="10498025" y="1"/>
            <a:ext cx="1693975" cy="685886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3550C534-3B35-1247-8B6D-84424F826421}"/>
              </a:ext>
            </a:extLst>
          </p:cNvPr>
          <p:cNvSpPr/>
          <p:nvPr userDrawn="1"/>
        </p:nvSpPr>
        <p:spPr>
          <a:xfrm>
            <a:off x="5375565" y="0"/>
            <a:ext cx="6218124" cy="6305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Slide Number Placeholder 4">
            <a:extLst>
              <a:ext uri="{FF2B5EF4-FFF2-40B4-BE49-F238E27FC236}">
                <a16:creationId xmlns:a16="http://schemas.microsoft.com/office/drawing/2014/main" id="{D251E83E-C75B-8446-9989-2AEABA903C6E}"/>
              </a:ext>
            </a:extLst>
          </p:cNvPr>
          <p:cNvSpPr>
            <a:spLocks noGrp="1"/>
          </p:cNvSpPr>
          <p:nvPr>
            <p:ph type="sldNum" sz="quarter" idx="4"/>
          </p:nvPr>
        </p:nvSpPr>
        <p:spPr>
          <a:xfrm>
            <a:off x="11119557" y="6080555"/>
            <a:ext cx="676910" cy="588863"/>
          </a:xfrm>
          <a:prstGeom prst="rect">
            <a:avLst/>
          </a:prstGeom>
          <a:solidFill>
            <a:srgbClr val="FFC000"/>
          </a:solidFill>
          <a:ln>
            <a:noFill/>
          </a:ln>
        </p:spPr>
        <p:txBody>
          <a:bodyPr anchor="ctr"/>
          <a:lstStyle>
            <a:lvl1pPr algn="ctr">
              <a:defRPr sz="1600">
                <a:solidFill>
                  <a:schemeClr val="accent2"/>
                </a:solidFill>
              </a:defRPr>
            </a:lvl1pPr>
          </a:lstStyle>
          <a:p>
            <a:fld id="{4C0C40C3-3CCF-4B11-80C9-BCC62D2234EE}" type="slidenum">
              <a:rPr lang="en-US" smtClean="0"/>
              <a:pPr/>
              <a:t>‹#›</a:t>
            </a:fld>
            <a:endParaRPr lang="en-US"/>
          </a:p>
        </p:txBody>
      </p:sp>
      <p:sp>
        <p:nvSpPr>
          <p:cNvPr id="2" name="Title Placeholder 1"/>
          <p:cNvSpPr>
            <a:spLocks noGrp="1"/>
          </p:cNvSpPr>
          <p:nvPr>
            <p:ph type="title"/>
          </p:nvPr>
        </p:nvSpPr>
        <p:spPr>
          <a:xfrm>
            <a:off x="598311" y="794446"/>
            <a:ext cx="9504181" cy="360099"/>
          </a:xfrm>
          <a:prstGeom prst="rect">
            <a:avLst/>
          </a:prstGeom>
        </p:spPr>
        <p:txBody>
          <a:bodyPr vert="horz" wrap="square" lIns="0" tIns="0" rIns="0" bIns="0" rtlCol="0" anchor="b">
            <a:spAutoFit/>
          </a:bodyPr>
          <a:lstStyle/>
          <a:p>
            <a:r>
              <a:rPr lang="en-US"/>
              <a:t>Click to edit master title style</a:t>
            </a:r>
          </a:p>
        </p:txBody>
      </p:sp>
      <p:sp>
        <p:nvSpPr>
          <p:cNvPr id="3" name="Text Placeholder 2"/>
          <p:cNvSpPr>
            <a:spLocks noGrp="1"/>
          </p:cNvSpPr>
          <p:nvPr>
            <p:ph type="body" idx="1"/>
          </p:nvPr>
        </p:nvSpPr>
        <p:spPr>
          <a:xfrm>
            <a:off x="598311" y="1583145"/>
            <a:ext cx="9956979" cy="416058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03AA2E03-6152-DD48-82FA-896041174756}"/>
              </a:ext>
            </a:extLst>
          </p:cNvPr>
          <p:cNvCxnSpPr>
            <a:cxnSpLocks/>
          </p:cNvCxnSpPr>
          <p:nvPr userDrawn="1"/>
        </p:nvCxnSpPr>
        <p:spPr>
          <a:xfrm>
            <a:off x="598311" y="1319903"/>
            <a:ext cx="3114707" cy="0"/>
          </a:xfrm>
          <a:prstGeom prst="line">
            <a:avLst/>
          </a:prstGeom>
          <a:noFill/>
          <a:ln w="762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cxnSp>
      <p:pic>
        <p:nvPicPr>
          <p:cNvPr id="13" name="Picture 12" descr="lotus_alvogen_logos-01.png">
            <a:extLst>
              <a:ext uri="{FF2B5EF4-FFF2-40B4-BE49-F238E27FC236}">
                <a16:creationId xmlns:a16="http://schemas.microsoft.com/office/drawing/2014/main" id="{B3983996-23C5-43F8-8FBD-A3B709879FF0}"/>
              </a:ext>
            </a:extLst>
          </p:cNvPr>
          <p:cNvPicPr>
            <a:picLocks noChangeAspect="1"/>
          </p:cNvPicPr>
          <p:nvPr userDrawn="1"/>
        </p:nvPicPr>
        <p:blipFill rotWithShape="1">
          <a:blip r:embed="rId42" cstate="screen">
            <a:extLst>
              <a:ext uri="{28A0092B-C50C-407E-A947-70E740481C1C}">
                <a14:useLocalDpi xmlns:a14="http://schemas.microsoft.com/office/drawing/2010/main"/>
              </a:ext>
            </a:extLst>
          </a:blip>
          <a:srcRect l="61167" t="32431" r="11163" b="23811"/>
          <a:stretch/>
        </p:blipFill>
        <p:spPr>
          <a:xfrm>
            <a:off x="659605" y="6467150"/>
            <a:ext cx="988219" cy="304566"/>
          </a:xfrm>
          <a:prstGeom prst="rect">
            <a:avLst/>
          </a:prstGeom>
        </p:spPr>
      </p:pic>
    </p:spTree>
    <p:extLst>
      <p:ext uri="{BB962C8B-B14F-4D97-AF65-F5344CB8AC3E}">
        <p14:creationId xmlns:p14="http://schemas.microsoft.com/office/powerpoint/2010/main" val="397186042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2" r:id="rId30"/>
    <p:sldLayoutId id="2147483693" r:id="rId31"/>
    <p:sldLayoutId id="2147483694" r:id="rId32"/>
    <p:sldLayoutId id="2147483695" r:id="rId33"/>
    <p:sldLayoutId id="2147483696" r:id="rId34"/>
    <p:sldLayoutId id="2147483697" r:id="rId35"/>
    <p:sldLayoutId id="2147483698" r:id="rId36"/>
  </p:sldLayoutIdLst>
  <p:hf hdr="0" ftr="0" dt="0"/>
  <p:txStyles>
    <p:titleStyle>
      <a:lvl1pPr algn="l" defTabSz="914400" rtl="0" eaLnBrk="1" latinLnBrk="0" hangingPunct="1">
        <a:lnSpc>
          <a:spcPct val="90000"/>
        </a:lnSpc>
        <a:spcBef>
          <a:spcPct val="0"/>
        </a:spcBef>
        <a:buNone/>
        <a:defRPr sz="2600" b="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tx2"/>
        </a:buClr>
        <a:buFont typeface="Wingdings" panose="05000000000000000000" pitchFamily="2" charset="2"/>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1000"/>
        </a:spcBef>
        <a:buClr>
          <a:schemeClr val="tx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100000"/>
        </a:lnSpc>
        <a:spcBef>
          <a:spcPts val="1000"/>
        </a:spcBef>
        <a:buClr>
          <a:schemeClr val="tx2"/>
        </a:buClr>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1000"/>
        </a:spcBef>
        <a:buClr>
          <a:schemeClr val="tx2"/>
        </a:buClr>
        <a:buFont typeface="Wingdings" panose="05000000000000000000" pitchFamily="2" charset="2"/>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1000"/>
        </a:spcBef>
        <a:buClr>
          <a:schemeClr val="tx2"/>
        </a:buClr>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hyperlink" Target="https://www.ft.com/content/dba1cb7a-46b1-4f94-b596-432e7d899f8d" TargetMode="External"/><Relationship Id="rId2" Type="http://schemas.openxmlformats.org/officeDocument/2006/relationships/image" Target="../media/image22.png"/><Relationship Id="rId1" Type="http://schemas.openxmlformats.org/officeDocument/2006/relationships/slideLayout" Target="../slideLayouts/slideLayout10.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4.xml"/><Relationship Id="rId1" Type="http://schemas.openxmlformats.org/officeDocument/2006/relationships/slideLayout" Target="../slideLayouts/slideLayout34.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18" Type="http://schemas.openxmlformats.org/officeDocument/2006/relationships/diagramColors" Target="../diagrams/colors3.xml"/><Relationship Id="rId3" Type="http://schemas.openxmlformats.org/officeDocument/2006/relationships/image" Target="../media/image31.png"/><Relationship Id="rId7" Type="http://schemas.openxmlformats.org/officeDocument/2006/relationships/diagramQuickStyle" Target="../diagrams/quickStyle1.xml"/><Relationship Id="rId12" Type="http://schemas.openxmlformats.org/officeDocument/2006/relationships/diagramQuickStyle" Target="../diagrams/quickStyle2.xml"/><Relationship Id="rId17" Type="http://schemas.openxmlformats.org/officeDocument/2006/relationships/diagramQuickStyle" Target="../diagrams/quickStyle3.xml"/><Relationship Id="rId2" Type="http://schemas.openxmlformats.org/officeDocument/2006/relationships/notesSlide" Target="../notesSlides/notesSlide16.xml"/><Relationship Id="rId16" Type="http://schemas.openxmlformats.org/officeDocument/2006/relationships/diagramLayout" Target="../diagrams/layout3.xml"/><Relationship Id="rId1" Type="http://schemas.openxmlformats.org/officeDocument/2006/relationships/slideLayout" Target="../slideLayouts/slideLayout31.xml"/><Relationship Id="rId6" Type="http://schemas.openxmlformats.org/officeDocument/2006/relationships/diagramLayout" Target="../diagrams/layout1.xml"/><Relationship Id="rId11" Type="http://schemas.openxmlformats.org/officeDocument/2006/relationships/diagramLayout" Target="../diagrams/layout2.xml"/><Relationship Id="rId5" Type="http://schemas.openxmlformats.org/officeDocument/2006/relationships/diagramData" Target="../diagrams/data1.xml"/><Relationship Id="rId15" Type="http://schemas.openxmlformats.org/officeDocument/2006/relationships/diagramData" Target="../diagrams/data3.xml"/><Relationship Id="rId10" Type="http://schemas.openxmlformats.org/officeDocument/2006/relationships/diagramData" Target="../diagrams/data2.xml"/><Relationship Id="rId19" Type="http://schemas.microsoft.com/office/2007/relationships/diagramDrawing" Target="../diagrams/drawing3.xml"/><Relationship Id="rId4" Type="http://schemas.microsoft.com/office/2007/relationships/hdphoto" Target="../media/hdphoto1.wdp"/><Relationship Id="rId9" Type="http://schemas.microsoft.com/office/2007/relationships/diagramDrawing" Target="../diagrams/drawing1.xml"/><Relationship Id="rId14" Type="http://schemas.microsoft.com/office/2007/relationships/diagramDrawing" Target="../diagrams/drawing2.xml"/></Relationships>
</file>

<file path=ppt/slides/_rels/slide1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3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8.xml"/><Relationship Id="rId1" Type="http://schemas.openxmlformats.org/officeDocument/2006/relationships/slideLayout" Target="../slideLayouts/slideLayout3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9.xml"/><Relationship Id="rId1" Type="http://schemas.openxmlformats.org/officeDocument/2006/relationships/slideLayout" Target="../slideLayouts/slideLayout3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0.xml"/><Relationship Id="rId1" Type="http://schemas.openxmlformats.org/officeDocument/2006/relationships/slideLayout" Target="../slideLayouts/slideLayout3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31.xml"/><Relationship Id="rId5" Type="http://schemas.openxmlformats.org/officeDocument/2006/relationships/image" Target="../media/image36.png"/><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34.xml"/><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752F02AC-D1DE-41A0-FF72-9AAE09DB656B}"/>
              </a:ext>
            </a:extLst>
          </p:cNvPr>
          <p:cNvSpPr>
            <a:spLocks noGrp="1"/>
          </p:cNvSpPr>
          <p:nvPr>
            <p:ph type="ctrTitle"/>
          </p:nvPr>
        </p:nvSpPr>
        <p:spPr>
          <a:xfrm>
            <a:off x="1633870" y="2620380"/>
            <a:ext cx="5600700" cy="886397"/>
          </a:xfrm>
        </p:spPr>
        <p:txBody>
          <a:bodyPr wrap="square" anchor="b">
            <a:normAutofit fontScale="90000"/>
          </a:bodyPr>
          <a:lstStyle/>
          <a:p>
            <a:r>
              <a:rPr lang="en-US" altLang="zh-TW"/>
              <a:t>2024 </a:t>
            </a:r>
            <a:r>
              <a:rPr lang="zh-TW" altLang="en-US"/>
              <a:t>美時集團供應商會議</a:t>
            </a:r>
            <a:br>
              <a:rPr lang="en-US" altLang="zh-TW"/>
            </a:br>
            <a:r>
              <a:rPr lang="en-US" altLang="zh-TW"/>
              <a:t>Lotus Group</a:t>
            </a:r>
            <a:br>
              <a:rPr lang="en-US" altLang="zh-TW"/>
            </a:br>
            <a:r>
              <a:rPr lang="en-US" altLang="zh-TW"/>
              <a:t>Supplier Conference </a:t>
            </a:r>
          </a:p>
        </p:txBody>
      </p:sp>
      <p:sp>
        <p:nvSpPr>
          <p:cNvPr id="3" name="副標題 2">
            <a:extLst>
              <a:ext uri="{FF2B5EF4-FFF2-40B4-BE49-F238E27FC236}">
                <a16:creationId xmlns:a16="http://schemas.microsoft.com/office/drawing/2014/main" id="{D4E5B847-002C-11A6-29F1-D3289766DD06}"/>
              </a:ext>
            </a:extLst>
          </p:cNvPr>
          <p:cNvSpPr>
            <a:spLocks noGrp="1"/>
          </p:cNvSpPr>
          <p:nvPr>
            <p:ph type="subTitle" idx="1"/>
          </p:nvPr>
        </p:nvSpPr>
        <p:spPr>
          <a:xfrm>
            <a:off x="1633870" y="3847177"/>
            <a:ext cx="5600700" cy="276999"/>
          </a:xfrm>
        </p:spPr>
        <p:txBody>
          <a:bodyPr vert="horz" wrap="square" lIns="0" tIns="0" rIns="0" bIns="0" rtlCol="0">
            <a:normAutofit/>
          </a:bodyPr>
          <a:lstStyle/>
          <a:p>
            <a:r>
              <a:rPr lang="en-US" altLang="zh-TW"/>
              <a:t>Oct</a:t>
            </a:r>
            <a:r>
              <a:rPr lang="zh-TW" altLang="en-US"/>
              <a:t> </a:t>
            </a:r>
            <a:r>
              <a:rPr lang="en-US" altLang="zh-TW"/>
              <a:t>16</a:t>
            </a:r>
            <a:r>
              <a:rPr lang="zh-TW" altLang="en-US"/>
              <a:t>th </a:t>
            </a:r>
            <a:r>
              <a:rPr lang="en-US" altLang="zh-TW"/>
              <a:t>2024</a:t>
            </a:r>
            <a:endParaRPr lang="zh-TW" altLang="en-US"/>
          </a:p>
        </p:txBody>
      </p:sp>
    </p:spTree>
    <p:extLst>
      <p:ext uri="{BB962C8B-B14F-4D97-AF65-F5344CB8AC3E}">
        <p14:creationId xmlns:p14="http://schemas.microsoft.com/office/powerpoint/2010/main" val="30817087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FC4653F7-48BB-48B1-2B63-07601394CCC8}"/>
              </a:ext>
            </a:extLst>
          </p:cNvPr>
          <p:cNvSpPr>
            <a:spLocks noGrp="1"/>
          </p:cNvSpPr>
          <p:nvPr>
            <p:ph type="body" sz="quarter" idx="13"/>
          </p:nvPr>
        </p:nvSpPr>
        <p:spPr>
          <a:xfrm>
            <a:off x="588339" y="1473349"/>
            <a:ext cx="10531218" cy="360099"/>
          </a:xfrm>
        </p:spPr>
        <p:txBody>
          <a:bodyPr>
            <a:normAutofit lnSpcReduction="10000"/>
          </a:bodyPr>
          <a:lstStyle/>
          <a:p>
            <a:r>
              <a:rPr lang="en-US" altLang="zh-TW"/>
              <a:t>Drug substance batch size scale up (within 10-fold)</a:t>
            </a:r>
            <a:endParaRPr lang="zh-TW" altLang="en-US"/>
          </a:p>
          <a:p>
            <a:endParaRPr lang="zh-TW" altLang="en-US"/>
          </a:p>
        </p:txBody>
      </p:sp>
      <p:sp>
        <p:nvSpPr>
          <p:cNvPr id="3" name="投影片編號版面配置區 2">
            <a:extLst>
              <a:ext uri="{FF2B5EF4-FFF2-40B4-BE49-F238E27FC236}">
                <a16:creationId xmlns:a16="http://schemas.microsoft.com/office/drawing/2014/main" id="{75A82B36-ECC8-9A39-EDEE-1164428B60A7}"/>
              </a:ext>
            </a:extLst>
          </p:cNvPr>
          <p:cNvSpPr>
            <a:spLocks noGrp="1"/>
          </p:cNvSpPr>
          <p:nvPr>
            <p:ph type="sldNum" sz="quarter" idx="4"/>
          </p:nvPr>
        </p:nvSpPr>
        <p:spPr/>
        <p:txBody>
          <a:bodyPr/>
          <a:lstStyle/>
          <a:p>
            <a:fld id="{4C0C40C3-3CCF-4B11-80C9-BCC62D2234EE}" type="slidenum">
              <a:rPr lang="en-US" smtClean="0"/>
              <a:pPr/>
              <a:t>10</a:t>
            </a:fld>
            <a:endParaRPr lang="en-US"/>
          </a:p>
        </p:txBody>
      </p:sp>
      <p:sp>
        <p:nvSpPr>
          <p:cNvPr id="4" name="標題 3">
            <a:extLst>
              <a:ext uri="{FF2B5EF4-FFF2-40B4-BE49-F238E27FC236}">
                <a16:creationId xmlns:a16="http://schemas.microsoft.com/office/drawing/2014/main" id="{B8185433-CE59-D8CE-8196-92034A0B60E2}"/>
              </a:ext>
            </a:extLst>
          </p:cNvPr>
          <p:cNvSpPr>
            <a:spLocks noGrp="1"/>
          </p:cNvSpPr>
          <p:nvPr>
            <p:ph type="title"/>
          </p:nvPr>
        </p:nvSpPr>
        <p:spPr>
          <a:xfrm>
            <a:off x="598311" y="878628"/>
            <a:ext cx="9504181" cy="276999"/>
          </a:xfrm>
        </p:spPr>
        <p:txBody>
          <a:bodyPr/>
          <a:lstStyle/>
          <a:p>
            <a:r>
              <a:rPr lang="en-US" altLang="zh-TW" sz="2000" b="1"/>
              <a:t>Variation: Approval timeline differ territories wise for same variation. </a:t>
            </a:r>
            <a:endParaRPr lang="zh-TW" altLang="en-US" sz="2000" b="1"/>
          </a:p>
        </p:txBody>
      </p:sp>
      <p:graphicFrame>
        <p:nvGraphicFramePr>
          <p:cNvPr id="5" name="表格 4">
            <a:extLst>
              <a:ext uri="{FF2B5EF4-FFF2-40B4-BE49-F238E27FC236}">
                <a16:creationId xmlns:a16="http://schemas.microsoft.com/office/drawing/2014/main" id="{26657DB8-36EC-1962-DD7E-CC1415C08639}"/>
              </a:ext>
            </a:extLst>
          </p:cNvPr>
          <p:cNvGraphicFramePr>
            <a:graphicFrameLocks noGrp="1"/>
          </p:cNvGraphicFramePr>
          <p:nvPr/>
        </p:nvGraphicFramePr>
        <p:xfrm>
          <a:off x="917446" y="1882956"/>
          <a:ext cx="7828621" cy="1362594"/>
        </p:xfrm>
        <a:graphic>
          <a:graphicData uri="http://schemas.openxmlformats.org/drawingml/2006/table">
            <a:tbl>
              <a:tblPr firstRow="1" bandRow="1">
                <a:tableStyleId>{00A15C55-8517-42AA-B614-E9B94910E393}</a:tableStyleId>
              </a:tblPr>
              <a:tblGrid>
                <a:gridCol w="2777305">
                  <a:extLst>
                    <a:ext uri="{9D8B030D-6E8A-4147-A177-3AD203B41FA5}">
                      <a16:colId xmlns:a16="http://schemas.microsoft.com/office/drawing/2014/main" val="1079748456"/>
                    </a:ext>
                  </a:extLst>
                </a:gridCol>
                <a:gridCol w="1676728">
                  <a:extLst>
                    <a:ext uri="{9D8B030D-6E8A-4147-A177-3AD203B41FA5}">
                      <a16:colId xmlns:a16="http://schemas.microsoft.com/office/drawing/2014/main" val="628948687"/>
                    </a:ext>
                  </a:extLst>
                </a:gridCol>
                <a:gridCol w="1687294">
                  <a:extLst>
                    <a:ext uri="{9D8B030D-6E8A-4147-A177-3AD203B41FA5}">
                      <a16:colId xmlns:a16="http://schemas.microsoft.com/office/drawing/2014/main" val="797645966"/>
                    </a:ext>
                  </a:extLst>
                </a:gridCol>
                <a:gridCol w="1687294">
                  <a:extLst>
                    <a:ext uri="{9D8B030D-6E8A-4147-A177-3AD203B41FA5}">
                      <a16:colId xmlns:a16="http://schemas.microsoft.com/office/drawing/2014/main" val="2462076176"/>
                    </a:ext>
                  </a:extLst>
                </a:gridCol>
              </a:tblGrid>
              <a:tr h="454198">
                <a:tc>
                  <a:txBody>
                    <a:bodyPr/>
                    <a:lstStyle/>
                    <a:p>
                      <a:pPr algn="ctr"/>
                      <a:r>
                        <a:rPr lang="en-US" altLang="zh-TW" sz="1200">
                          <a:solidFill>
                            <a:schemeClr val="tx1"/>
                          </a:solidFill>
                        </a:rPr>
                        <a:t>Variation plan</a:t>
                      </a:r>
                      <a:endParaRPr lang="zh-TW" altLang="en-US" sz="1200">
                        <a:solidFill>
                          <a:schemeClr val="tx1"/>
                        </a:solidFill>
                      </a:endParaRPr>
                    </a:p>
                  </a:txBody>
                  <a:tcPr anchor="ctr"/>
                </a:tc>
                <a:tc>
                  <a:txBody>
                    <a:bodyPr/>
                    <a:lstStyle/>
                    <a:p>
                      <a:pPr algn="ctr"/>
                      <a:r>
                        <a:rPr lang="en-US" altLang="zh-TW" sz="1200">
                          <a:solidFill>
                            <a:schemeClr val="tx1"/>
                          </a:solidFill>
                        </a:rPr>
                        <a:t>Critical market</a:t>
                      </a:r>
                      <a:endParaRPr lang="zh-TW" altLang="en-US" sz="1200">
                        <a:solidFill>
                          <a:schemeClr val="tx1"/>
                        </a:solidFill>
                      </a:endParaRPr>
                    </a:p>
                  </a:txBody>
                  <a:tcPr anchor="ctr"/>
                </a:tc>
                <a:tc>
                  <a:txBody>
                    <a:bodyPr/>
                    <a:lstStyle/>
                    <a:p>
                      <a:pPr algn="ctr"/>
                      <a:r>
                        <a:rPr lang="en-US" altLang="zh-TW" sz="1200">
                          <a:solidFill>
                            <a:schemeClr val="tx1"/>
                          </a:solidFill>
                        </a:rPr>
                        <a:t>Variation level</a:t>
                      </a:r>
                      <a:endParaRPr lang="zh-TW" altLang="en-US" sz="1200">
                        <a:solidFill>
                          <a:schemeClr val="tx1"/>
                        </a:solidFill>
                      </a:endParaRPr>
                    </a:p>
                  </a:txBody>
                  <a:tcPr anchor="ctr"/>
                </a:tc>
                <a:tc>
                  <a:txBody>
                    <a:bodyPr/>
                    <a:lstStyle/>
                    <a:p>
                      <a:pPr algn="ctr"/>
                      <a:r>
                        <a:rPr lang="en-US" altLang="zh-TW" sz="1200" b="1" kern="1200">
                          <a:solidFill>
                            <a:schemeClr val="tx1"/>
                          </a:solidFill>
                          <a:latin typeface="+mn-lt"/>
                          <a:ea typeface="+mn-ea"/>
                          <a:cs typeface="+mn-cs"/>
                        </a:rPr>
                        <a:t>Approval timeline</a:t>
                      </a:r>
                      <a:endParaRPr lang="zh-TW" altLang="en-US" sz="1200" b="1" kern="1200">
                        <a:solidFill>
                          <a:schemeClr val="tx1"/>
                        </a:solidFill>
                        <a:latin typeface="+mn-lt"/>
                        <a:ea typeface="+mn-ea"/>
                        <a:cs typeface="+mn-cs"/>
                      </a:endParaRPr>
                    </a:p>
                  </a:txBody>
                  <a:tcPr anchor="ctr"/>
                </a:tc>
                <a:extLst>
                  <a:ext uri="{0D108BD9-81ED-4DB2-BD59-A6C34878D82A}">
                    <a16:rowId xmlns:a16="http://schemas.microsoft.com/office/drawing/2014/main" val="501271723"/>
                  </a:ext>
                </a:extLst>
              </a:tr>
              <a:tr h="454198">
                <a:tc rowSpan="2">
                  <a:txBody>
                    <a:bodyPr/>
                    <a:lstStyle/>
                    <a:p>
                      <a:pPr algn="ctr"/>
                      <a:r>
                        <a:rPr lang="en-US" altLang="zh-CN" sz="1200">
                          <a:solidFill>
                            <a:schemeClr val="tx1"/>
                          </a:solidFill>
                        </a:rPr>
                        <a:t>Drug substance batch size scale up (Within 10-fold)</a:t>
                      </a:r>
                      <a:endParaRPr lang="zh-TW" altLang="en-US" sz="1200">
                        <a:solidFill>
                          <a:schemeClr val="tx1"/>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TW" sz="1200" kern="1200">
                          <a:solidFill>
                            <a:schemeClr val="tx1"/>
                          </a:solidFill>
                          <a:latin typeface="+mn-lt"/>
                          <a:ea typeface="+mn-ea"/>
                          <a:cs typeface="+mn-cs"/>
                        </a:rPr>
                        <a:t>EU</a:t>
                      </a:r>
                      <a:endParaRPr lang="zh-TW" altLang="en-US" sz="120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TW" sz="1200" kern="1200">
                          <a:solidFill>
                            <a:schemeClr val="tx1"/>
                          </a:solidFill>
                          <a:latin typeface="+mn-lt"/>
                          <a:ea typeface="+mn-ea"/>
                          <a:cs typeface="+mn-cs"/>
                        </a:rPr>
                        <a:t>Type IA</a:t>
                      </a:r>
                      <a:endParaRPr lang="zh-TW" altLang="en-US" sz="120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TW" sz="1200" kern="1200">
                          <a:solidFill>
                            <a:schemeClr val="tx1"/>
                          </a:solidFill>
                          <a:latin typeface="+mn-lt"/>
                          <a:ea typeface="+mn-ea"/>
                          <a:cs typeface="+mn-cs"/>
                        </a:rPr>
                        <a:t>Annual report</a:t>
                      </a:r>
                      <a:endParaRPr lang="zh-TW" altLang="en-US" sz="1200" kern="1200">
                        <a:solidFill>
                          <a:schemeClr val="tx1"/>
                        </a:solidFill>
                        <a:latin typeface="+mn-lt"/>
                        <a:ea typeface="+mn-ea"/>
                        <a:cs typeface="+mn-cs"/>
                      </a:endParaRPr>
                    </a:p>
                  </a:txBody>
                  <a:tcPr anchor="ctr"/>
                </a:tc>
                <a:extLst>
                  <a:ext uri="{0D108BD9-81ED-4DB2-BD59-A6C34878D82A}">
                    <a16:rowId xmlns:a16="http://schemas.microsoft.com/office/drawing/2014/main" val="2159387858"/>
                  </a:ext>
                </a:extLst>
              </a:tr>
              <a:tr h="454198">
                <a:tc vMerge="1">
                  <a:txBody>
                    <a:bodyPr/>
                    <a:lstStyle/>
                    <a:p>
                      <a:endParaRPr/>
                    </a:p>
                  </a:txBody>
                  <a:tcPr anchor="ctr"/>
                </a:tc>
                <a:tc>
                  <a:txBody>
                    <a:bodyPr/>
                    <a:lstStyle/>
                    <a:p>
                      <a:pPr algn="ctr"/>
                      <a:r>
                        <a:rPr lang="en-US" altLang="zh-TW" sz="1200">
                          <a:solidFill>
                            <a:schemeClr val="tx1"/>
                          </a:solidFill>
                        </a:rPr>
                        <a:t>VN</a:t>
                      </a:r>
                      <a:endParaRPr lang="zh-TW" altLang="en-US" sz="1200">
                        <a:solidFill>
                          <a:schemeClr val="tx1"/>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TW" sz="1200">
                          <a:solidFill>
                            <a:schemeClr val="tx1"/>
                          </a:solidFill>
                        </a:rPr>
                        <a:t>Minor change</a:t>
                      </a:r>
                      <a:endParaRPr lang="zh-TW" altLang="en-US" sz="1200">
                        <a:solidFill>
                          <a:schemeClr val="tx1"/>
                        </a:solidFill>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TW" sz="1200">
                          <a:solidFill>
                            <a:schemeClr val="tx1"/>
                          </a:solidFill>
                        </a:rPr>
                        <a:t>18-24M</a:t>
                      </a:r>
                      <a:endParaRPr lang="zh-TW" altLang="en-US" sz="1200">
                        <a:solidFill>
                          <a:schemeClr val="tx1"/>
                        </a:solidFill>
                      </a:endParaRPr>
                    </a:p>
                  </a:txBody>
                  <a:tcPr anchor="ctr"/>
                </a:tc>
                <a:extLst>
                  <a:ext uri="{0D108BD9-81ED-4DB2-BD59-A6C34878D82A}">
                    <a16:rowId xmlns:a16="http://schemas.microsoft.com/office/drawing/2014/main" val="3724146759"/>
                  </a:ext>
                </a:extLst>
              </a:tr>
            </a:tbl>
          </a:graphicData>
        </a:graphic>
      </p:graphicFrame>
      <p:sp>
        <p:nvSpPr>
          <p:cNvPr id="6" name="文字版面配置區 1">
            <a:extLst>
              <a:ext uri="{FF2B5EF4-FFF2-40B4-BE49-F238E27FC236}">
                <a16:creationId xmlns:a16="http://schemas.microsoft.com/office/drawing/2014/main" id="{7E92839E-CD79-6DC2-D3E3-4FB9D3944460}"/>
              </a:ext>
            </a:extLst>
          </p:cNvPr>
          <p:cNvSpPr txBox="1">
            <a:spLocks/>
          </p:cNvSpPr>
          <p:nvPr/>
        </p:nvSpPr>
        <p:spPr>
          <a:xfrm>
            <a:off x="688846" y="3609448"/>
            <a:ext cx="10531218" cy="428398"/>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Clr>
                <a:schemeClr val="tx2"/>
              </a:buClr>
              <a:buFont typeface="Wingdings" panose="05000000000000000000" pitchFamily="2" charset="2"/>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1000"/>
              </a:spcBef>
              <a:buClr>
                <a:schemeClr val="tx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100000"/>
              </a:lnSpc>
              <a:spcBef>
                <a:spcPts val="1000"/>
              </a:spcBef>
              <a:buClr>
                <a:schemeClr val="tx2"/>
              </a:buClr>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1000"/>
              </a:spcBef>
              <a:buClr>
                <a:schemeClr val="tx2"/>
              </a:buClr>
              <a:buFont typeface="Wingdings" panose="05000000000000000000" pitchFamily="2" charset="2"/>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1000"/>
              </a:spcBef>
              <a:buClr>
                <a:schemeClr val="tx2"/>
              </a:buClr>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TW"/>
              <a:t>Alternative excipient supplier (same specification)</a:t>
            </a:r>
            <a:endParaRPr lang="zh-TW" altLang="en-US"/>
          </a:p>
          <a:p>
            <a:endParaRPr lang="zh-TW" altLang="en-US"/>
          </a:p>
        </p:txBody>
      </p:sp>
      <p:graphicFrame>
        <p:nvGraphicFramePr>
          <p:cNvPr id="7" name="表格 6">
            <a:extLst>
              <a:ext uri="{FF2B5EF4-FFF2-40B4-BE49-F238E27FC236}">
                <a16:creationId xmlns:a16="http://schemas.microsoft.com/office/drawing/2014/main" id="{9EE05EF4-C9C4-8A21-2416-E37B1ACE709D}"/>
              </a:ext>
            </a:extLst>
          </p:cNvPr>
          <p:cNvGraphicFramePr>
            <a:graphicFrameLocks noGrp="1"/>
          </p:cNvGraphicFramePr>
          <p:nvPr/>
        </p:nvGraphicFramePr>
        <p:xfrm>
          <a:off x="917446" y="4193484"/>
          <a:ext cx="7828621" cy="1198880"/>
        </p:xfrm>
        <a:graphic>
          <a:graphicData uri="http://schemas.openxmlformats.org/drawingml/2006/table">
            <a:tbl>
              <a:tblPr firstRow="1" bandRow="1">
                <a:tableStyleId>{00A15C55-8517-42AA-B614-E9B94910E393}</a:tableStyleId>
              </a:tblPr>
              <a:tblGrid>
                <a:gridCol w="2777305">
                  <a:extLst>
                    <a:ext uri="{9D8B030D-6E8A-4147-A177-3AD203B41FA5}">
                      <a16:colId xmlns:a16="http://schemas.microsoft.com/office/drawing/2014/main" val="1079748456"/>
                    </a:ext>
                  </a:extLst>
                </a:gridCol>
                <a:gridCol w="1676728">
                  <a:extLst>
                    <a:ext uri="{9D8B030D-6E8A-4147-A177-3AD203B41FA5}">
                      <a16:colId xmlns:a16="http://schemas.microsoft.com/office/drawing/2014/main" val="628948687"/>
                    </a:ext>
                  </a:extLst>
                </a:gridCol>
                <a:gridCol w="1687294">
                  <a:extLst>
                    <a:ext uri="{9D8B030D-6E8A-4147-A177-3AD203B41FA5}">
                      <a16:colId xmlns:a16="http://schemas.microsoft.com/office/drawing/2014/main" val="797645966"/>
                    </a:ext>
                  </a:extLst>
                </a:gridCol>
                <a:gridCol w="1687294">
                  <a:extLst>
                    <a:ext uri="{9D8B030D-6E8A-4147-A177-3AD203B41FA5}">
                      <a16:colId xmlns:a16="http://schemas.microsoft.com/office/drawing/2014/main" val="2462076176"/>
                    </a:ext>
                  </a:extLst>
                </a:gridCol>
              </a:tblGrid>
              <a:tr h="370840">
                <a:tc>
                  <a:txBody>
                    <a:bodyPr/>
                    <a:lstStyle/>
                    <a:p>
                      <a:pPr marL="0" algn="ctr" defTabSz="914400" rtl="0" eaLnBrk="1" latinLnBrk="0" hangingPunct="1"/>
                      <a:r>
                        <a:rPr lang="en-US" altLang="zh-TW" sz="1200" b="1" kern="1200">
                          <a:solidFill>
                            <a:schemeClr val="tx1"/>
                          </a:solidFill>
                          <a:latin typeface="+mn-lt"/>
                          <a:ea typeface="+mn-ea"/>
                          <a:cs typeface="+mn-cs"/>
                        </a:rPr>
                        <a:t>Variation plan </a:t>
                      </a:r>
                      <a:endParaRPr lang="zh-TW" altLang="en-US" sz="1200" b="1" kern="1200">
                        <a:solidFill>
                          <a:schemeClr val="tx1"/>
                        </a:solidFill>
                        <a:latin typeface="+mn-lt"/>
                        <a:ea typeface="+mn-ea"/>
                        <a:cs typeface="+mn-cs"/>
                      </a:endParaRPr>
                    </a:p>
                  </a:txBody>
                  <a:tcPr anchor="ctr"/>
                </a:tc>
                <a:tc>
                  <a:txBody>
                    <a:bodyPr/>
                    <a:lstStyle/>
                    <a:p>
                      <a:pPr marL="0" algn="ctr" defTabSz="914400" rtl="0" eaLnBrk="1" latinLnBrk="0" hangingPunct="1"/>
                      <a:r>
                        <a:rPr lang="en-US" altLang="zh-TW" sz="1200" b="1" kern="1200">
                          <a:solidFill>
                            <a:schemeClr val="tx1"/>
                          </a:solidFill>
                          <a:latin typeface="+mn-lt"/>
                          <a:ea typeface="+mn-ea"/>
                          <a:cs typeface="+mn-cs"/>
                        </a:rPr>
                        <a:t>Critical market</a:t>
                      </a:r>
                      <a:endParaRPr lang="zh-TW" altLang="en-US" sz="1200" b="1" kern="1200">
                        <a:solidFill>
                          <a:schemeClr val="tx1"/>
                        </a:solidFill>
                        <a:latin typeface="+mn-lt"/>
                        <a:ea typeface="+mn-ea"/>
                        <a:cs typeface="+mn-cs"/>
                      </a:endParaRPr>
                    </a:p>
                  </a:txBody>
                  <a:tcPr anchor="ctr"/>
                </a:tc>
                <a:tc>
                  <a:txBody>
                    <a:bodyPr/>
                    <a:lstStyle/>
                    <a:p>
                      <a:pPr marL="0" algn="ctr" defTabSz="914400" rtl="0" eaLnBrk="1" latinLnBrk="0" hangingPunct="1"/>
                      <a:r>
                        <a:rPr lang="en-US" altLang="zh-TW" sz="1200" b="1" kern="1200">
                          <a:solidFill>
                            <a:schemeClr val="tx1"/>
                          </a:solidFill>
                          <a:latin typeface="+mn-lt"/>
                          <a:ea typeface="+mn-ea"/>
                          <a:cs typeface="+mn-cs"/>
                        </a:rPr>
                        <a:t>Variation level</a:t>
                      </a:r>
                      <a:endParaRPr lang="zh-TW" altLang="en-US" sz="1200" b="1" kern="1200">
                        <a:solidFill>
                          <a:schemeClr val="tx1"/>
                        </a:solidFill>
                        <a:latin typeface="+mn-lt"/>
                        <a:ea typeface="+mn-ea"/>
                        <a:cs typeface="+mn-cs"/>
                      </a:endParaRPr>
                    </a:p>
                  </a:txBody>
                  <a:tcPr anchor="ctr"/>
                </a:tc>
                <a:tc>
                  <a:txBody>
                    <a:bodyPr/>
                    <a:lstStyle/>
                    <a:p>
                      <a:pPr marL="0" algn="ctr" defTabSz="914400" rtl="0" eaLnBrk="1" latinLnBrk="0" hangingPunct="1"/>
                      <a:r>
                        <a:rPr lang="en-US" altLang="zh-TW" sz="1200" b="1" kern="1200">
                          <a:solidFill>
                            <a:schemeClr val="tx1"/>
                          </a:solidFill>
                          <a:latin typeface="+mn-lt"/>
                          <a:ea typeface="+mn-ea"/>
                          <a:cs typeface="+mn-cs"/>
                        </a:rPr>
                        <a:t>Approval timeline</a:t>
                      </a:r>
                      <a:endParaRPr lang="zh-TW" altLang="en-US" sz="1200" b="1" kern="1200">
                        <a:solidFill>
                          <a:schemeClr val="tx1"/>
                        </a:solidFill>
                        <a:latin typeface="+mn-lt"/>
                        <a:ea typeface="+mn-ea"/>
                        <a:cs typeface="+mn-cs"/>
                      </a:endParaRPr>
                    </a:p>
                  </a:txBody>
                  <a:tcPr anchor="ctr"/>
                </a:tc>
                <a:extLst>
                  <a:ext uri="{0D108BD9-81ED-4DB2-BD59-A6C34878D82A}">
                    <a16:rowId xmlns:a16="http://schemas.microsoft.com/office/drawing/2014/main" val="501271723"/>
                  </a:ext>
                </a:extLst>
              </a:tr>
              <a:tr h="370840">
                <a:tc rowSpan="2">
                  <a:txBody>
                    <a:bodyPr/>
                    <a:lstStyle/>
                    <a:p>
                      <a:pPr marL="0" algn="ctr" defTabSz="914400" rtl="0" eaLnBrk="1" latinLnBrk="0" hangingPunct="1"/>
                      <a:r>
                        <a:rPr lang="en-US" altLang="zh-TW" sz="1200" kern="1200">
                          <a:solidFill>
                            <a:schemeClr val="tx1"/>
                          </a:solidFill>
                          <a:latin typeface="+mn-lt"/>
                          <a:ea typeface="+mn-ea"/>
                          <a:cs typeface="+mn-cs"/>
                        </a:rPr>
                        <a:t>Alternative excipient supplier (same specification)</a:t>
                      </a:r>
                      <a:endParaRPr lang="zh-TW" altLang="en-US" sz="1200" kern="1200">
                        <a:solidFill>
                          <a:schemeClr val="tx1"/>
                        </a:solidFill>
                        <a:latin typeface="+mn-lt"/>
                        <a:ea typeface="+mn-ea"/>
                        <a:cs typeface="+mn-cs"/>
                      </a:endParaRPr>
                    </a:p>
                  </a:txBody>
                  <a:tcPr anchor="ctr"/>
                </a:tc>
                <a:tc>
                  <a:txBody>
                    <a:bodyPr/>
                    <a:lstStyle/>
                    <a:p>
                      <a:pPr marL="0" algn="ctr" defTabSz="914400" rtl="0" eaLnBrk="1" latinLnBrk="0" hangingPunct="1"/>
                      <a:r>
                        <a:rPr lang="en-US" altLang="zh-TW" sz="1200" kern="1200">
                          <a:solidFill>
                            <a:schemeClr val="tx1"/>
                          </a:solidFill>
                          <a:latin typeface="+mn-lt"/>
                          <a:ea typeface="+mn-ea"/>
                          <a:cs typeface="+mn-cs"/>
                        </a:rPr>
                        <a:t>EU</a:t>
                      </a:r>
                      <a:endParaRPr lang="zh-TW" altLang="en-US" sz="120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TW" sz="1200" kern="1200">
                          <a:solidFill>
                            <a:schemeClr val="tx1"/>
                          </a:solidFill>
                          <a:latin typeface="+mn-lt"/>
                          <a:ea typeface="+mn-ea"/>
                          <a:cs typeface="+mn-cs"/>
                        </a:rPr>
                        <a:t>No variation is required</a:t>
                      </a:r>
                      <a:endParaRPr lang="zh-TW" altLang="en-US" sz="120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TW" sz="1200" kern="1200">
                          <a:solidFill>
                            <a:schemeClr val="tx1"/>
                          </a:solidFill>
                          <a:latin typeface="+mn-lt"/>
                          <a:ea typeface="+mn-ea"/>
                          <a:cs typeface="+mn-cs"/>
                        </a:rPr>
                        <a:t>No variation is required</a:t>
                      </a:r>
                      <a:endParaRPr lang="zh-TW" altLang="en-US" sz="1200" kern="1200">
                        <a:solidFill>
                          <a:schemeClr val="tx1"/>
                        </a:solidFill>
                        <a:latin typeface="+mn-lt"/>
                        <a:ea typeface="+mn-ea"/>
                        <a:cs typeface="+mn-cs"/>
                      </a:endParaRPr>
                    </a:p>
                  </a:txBody>
                  <a:tcPr anchor="ctr"/>
                </a:tc>
                <a:extLst>
                  <a:ext uri="{0D108BD9-81ED-4DB2-BD59-A6C34878D82A}">
                    <a16:rowId xmlns:a16="http://schemas.microsoft.com/office/drawing/2014/main" val="2159387858"/>
                  </a:ext>
                </a:extLst>
              </a:tr>
              <a:tr h="370840">
                <a:tc vMerge="1">
                  <a:txBody>
                    <a:bodyPr/>
                    <a:lstStyle/>
                    <a:p>
                      <a:endParaRPr/>
                    </a:p>
                  </a:txBody>
                  <a:tcPr anchor="ctr"/>
                </a:tc>
                <a:tc>
                  <a:txBody>
                    <a:bodyPr/>
                    <a:lstStyle/>
                    <a:p>
                      <a:pPr marL="0" algn="ctr" defTabSz="914400" rtl="0" eaLnBrk="1" latinLnBrk="0" hangingPunct="1"/>
                      <a:r>
                        <a:rPr lang="en-US" altLang="zh-TW" sz="1200" kern="1200">
                          <a:solidFill>
                            <a:schemeClr val="tx1"/>
                          </a:solidFill>
                          <a:latin typeface="+mn-lt"/>
                          <a:ea typeface="+mn-ea"/>
                          <a:cs typeface="+mn-cs"/>
                        </a:rPr>
                        <a:t>CO</a:t>
                      </a:r>
                      <a:endParaRPr lang="zh-TW" altLang="en-US" sz="120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200" kern="1200">
                          <a:solidFill>
                            <a:schemeClr val="tx1"/>
                          </a:solidFill>
                          <a:latin typeface="+mn-lt"/>
                          <a:ea typeface="+mn-ea"/>
                          <a:cs typeface="+mn-cs"/>
                        </a:rPr>
                        <a:t>Notification</a:t>
                      </a:r>
                      <a:endParaRPr lang="zh-TW" altLang="en-US" sz="1200" kern="1200">
                        <a:solidFill>
                          <a:schemeClr val="tx1"/>
                        </a:solidFill>
                        <a:latin typeface="+mn-lt"/>
                        <a:ea typeface="+mn-ea"/>
                        <a:cs typeface="+mn-cs"/>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TW" sz="1200" kern="1200">
                          <a:solidFill>
                            <a:schemeClr val="tx1"/>
                          </a:solidFill>
                          <a:latin typeface="+mn-lt"/>
                          <a:ea typeface="+mn-ea"/>
                          <a:cs typeface="+mn-cs"/>
                        </a:rPr>
                        <a:t>6M</a:t>
                      </a:r>
                      <a:endParaRPr lang="zh-TW" altLang="en-US" sz="1200" kern="1200">
                        <a:solidFill>
                          <a:schemeClr val="tx1"/>
                        </a:solidFill>
                        <a:latin typeface="+mn-lt"/>
                        <a:ea typeface="+mn-ea"/>
                        <a:cs typeface="+mn-cs"/>
                      </a:endParaRPr>
                    </a:p>
                  </a:txBody>
                  <a:tcPr anchor="ctr"/>
                </a:tc>
                <a:extLst>
                  <a:ext uri="{0D108BD9-81ED-4DB2-BD59-A6C34878D82A}">
                    <a16:rowId xmlns:a16="http://schemas.microsoft.com/office/drawing/2014/main" val="3724146759"/>
                  </a:ext>
                </a:extLst>
              </a:tr>
            </a:tbl>
          </a:graphicData>
        </a:graphic>
      </p:graphicFrame>
    </p:spTree>
    <p:extLst>
      <p:ext uri="{BB962C8B-B14F-4D97-AF65-F5344CB8AC3E}">
        <p14:creationId xmlns:p14="http://schemas.microsoft.com/office/powerpoint/2010/main" val="6383662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a:extLst>
              <a:ext uri="{FF2B5EF4-FFF2-40B4-BE49-F238E27FC236}">
                <a16:creationId xmlns:a16="http://schemas.microsoft.com/office/drawing/2014/main" id="{A469A625-61D9-4202-9B26-240ED16A398D}"/>
              </a:ext>
            </a:extLst>
          </p:cNvPr>
          <p:cNvSpPr>
            <a:spLocks noGrp="1"/>
          </p:cNvSpPr>
          <p:nvPr>
            <p:ph type="ctrTitle"/>
          </p:nvPr>
        </p:nvSpPr>
        <p:spPr>
          <a:xfrm>
            <a:off x="1633870" y="2121782"/>
            <a:ext cx="5600700" cy="1384995"/>
          </a:xfrm>
        </p:spPr>
        <p:txBody>
          <a:bodyPr/>
          <a:lstStyle/>
          <a:p>
            <a:pPr algn="l"/>
            <a:r>
              <a:rPr lang="en-US" altLang="zh-TW" sz="5000" dirty="0">
                <a:solidFill>
                  <a:srgbClr val="FFC000"/>
                </a:solidFill>
                <a:latin typeface="Calibri" panose="020F0502020204030204" pitchFamily="34" charset="0"/>
                <a:cs typeface="Calibri" panose="020F0502020204030204" pitchFamily="34" charset="0"/>
              </a:rPr>
              <a:t>Lotus Vendor Conference</a:t>
            </a:r>
            <a:endParaRPr lang="zh-TW" altLang="en-US" sz="5000" dirty="0">
              <a:solidFill>
                <a:srgbClr val="FFC000"/>
              </a:solidFill>
            </a:endParaRPr>
          </a:p>
        </p:txBody>
      </p:sp>
      <p:sp>
        <p:nvSpPr>
          <p:cNvPr id="4" name="副標題 3">
            <a:extLst>
              <a:ext uri="{FF2B5EF4-FFF2-40B4-BE49-F238E27FC236}">
                <a16:creationId xmlns:a16="http://schemas.microsoft.com/office/drawing/2014/main" id="{B9D55BD9-C01D-DB11-7A1A-9854BB3DE8C0}"/>
              </a:ext>
            </a:extLst>
          </p:cNvPr>
          <p:cNvSpPr>
            <a:spLocks noGrp="1"/>
          </p:cNvSpPr>
          <p:nvPr>
            <p:ph type="subTitle" idx="1"/>
          </p:nvPr>
        </p:nvSpPr>
        <p:spPr/>
        <p:txBody>
          <a:bodyPr/>
          <a:lstStyle/>
          <a:p>
            <a:r>
              <a:rPr lang="en-US" altLang="zh-TW" dirty="0"/>
              <a:t>Gwen Hsieh</a:t>
            </a:r>
            <a:endParaRPr lang="zh-TW" altLang="en-US" dirty="0"/>
          </a:p>
        </p:txBody>
      </p:sp>
      <p:pic>
        <p:nvPicPr>
          <p:cNvPr id="2" name="Picture 10" descr="lotus_alvogen_logos-01.png">
            <a:extLst>
              <a:ext uri="{FF2B5EF4-FFF2-40B4-BE49-F238E27FC236}">
                <a16:creationId xmlns:a16="http://schemas.microsoft.com/office/drawing/2014/main" id="{56D3661C-DED8-C4C9-215A-AE6BF0FEE0C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61167" t="32431" r="11163" b="23811"/>
          <a:stretch/>
        </p:blipFill>
        <p:spPr>
          <a:xfrm>
            <a:off x="7765503" y="727365"/>
            <a:ext cx="3163427" cy="1068184"/>
          </a:xfrm>
          <a:prstGeom prst="rect">
            <a:avLst/>
          </a:prstGeom>
          <a:solidFill>
            <a:schemeClr val="tx1"/>
          </a:solidFill>
        </p:spPr>
      </p:pic>
    </p:spTree>
    <p:extLst>
      <p:ext uri="{BB962C8B-B14F-4D97-AF65-F5344CB8AC3E}">
        <p14:creationId xmlns:p14="http://schemas.microsoft.com/office/powerpoint/2010/main" val="39401543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方塊 1">
            <a:extLst>
              <a:ext uri="{FF2B5EF4-FFF2-40B4-BE49-F238E27FC236}">
                <a16:creationId xmlns:a16="http://schemas.microsoft.com/office/drawing/2014/main" id="{AB29034E-138D-2C14-08C3-631033849EEF}"/>
              </a:ext>
            </a:extLst>
          </p:cNvPr>
          <p:cNvSpPr txBox="1"/>
          <p:nvPr/>
        </p:nvSpPr>
        <p:spPr>
          <a:xfrm>
            <a:off x="2121991" y="1475899"/>
            <a:ext cx="2542882" cy="400110"/>
          </a:xfrm>
          <a:prstGeom prst="rect">
            <a:avLst/>
          </a:prstGeom>
          <a:noFill/>
          <a:ln w="28575">
            <a:solidFill>
              <a:schemeClr val="accent4">
                <a:lumMod val="20000"/>
                <a:lumOff val="80000"/>
              </a:schemeClr>
            </a:solidFill>
          </a:ln>
        </p:spPr>
        <p:txBody>
          <a:bodyPr wrap="square">
            <a:spAutoFit/>
          </a:bodyPr>
          <a:lstStyle/>
          <a:p>
            <a:r>
              <a:rPr lang="en-US" altLang="zh-TW" sz="2000" b="1" u="sng" dirty="0">
                <a:latin typeface="Calibri" panose="020F0502020204030204" pitchFamily="34" charset="0"/>
                <a:cs typeface="Calibri" panose="020F0502020204030204" pitchFamily="34" charset="0"/>
              </a:rPr>
              <a:t>CrowdStrike outage</a:t>
            </a:r>
          </a:p>
        </p:txBody>
      </p:sp>
      <p:pic>
        <p:nvPicPr>
          <p:cNvPr id="3" name="圖片 2">
            <a:extLst>
              <a:ext uri="{FF2B5EF4-FFF2-40B4-BE49-F238E27FC236}">
                <a16:creationId xmlns:a16="http://schemas.microsoft.com/office/drawing/2014/main" id="{F086D85B-5E33-BD01-27DC-C0FD1857D80D}"/>
              </a:ext>
            </a:extLst>
          </p:cNvPr>
          <p:cNvPicPr>
            <a:picLocks noChangeAspect="1"/>
          </p:cNvPicPr>
          <p:nvPr/>
        </p:nvPicPr>
        <p:blipFill>
          <a:blip r:embed="rId2"/>
          <a:stretch>
            <a:fillRect/>
          </a:stretch>
        </p:blipFill>
        <p:spPr>
          <a:xfrm>
            <a:off x="2121991" y="1952066"/>
            <a:ext cx="3100094" cy="1841269"/>
          </a:xfrm>
          <a:prstGeom prst="rect">
            <a:avLst/>
          </a:prstGeom>
          <a:effectLst>
            <a:reflection blurRad="6350" stA="34000" endPos="35000" dir="5400000" sy="-100000" algn="bl" rotWithShape="0"/>
          </a:effectLst>
        </p:spPr>
      </p:pic>
      <p:sp>
        <p:nvSpPr>
          <p:cNvPr id="4" name="文字方塊 3">
            <a:extLst>
              <a:ext uri="{FF2B5EF4-FFF2-40B4-BE49-F238E27FC236}">
                <a16:creationId xmlns:a16="http://schemas.microsoft.com/office/drawing/2014/main" id="{04586FF3-FD63-B5CD-20FA-62F5BD14AD96}"/>
              </a:ext>
            </a:extLst>
          </p:cNvPr>
          <p:cNvSpPr txBox="1"/>
          <p:nvPr/>
        </p:nvSpPr>
        <p:spPr>
          <a:xfrm>
            <a:off x="6574634" y="1475899"/>
            <a:ext cx="2833689" cy="400110"/>
          </a:xfrm>
          <a:prstGeom prst="rect">
            <a:avLst/>
          </a:prstGeom>
          <a:noFill/>
          <a:ln w="28575">
            <a:solidFill>
              <a:schemeClr val="accent4">
                <a:lumMod val="20000"/>
                <a:lumOff val="80000"/>
              </a:schemeClr>
            </a:solidFill>
          </a:ln>
        </p:spPr>
        <p:txBody>
          <a:bodyPr wrap="square">
            <a:spAutoFit/>
          </a:bodyPr>
          <a:lstStyle/>
          <a:p>
            <a:r>
              <a:rPr lang="en-US" altLang="zh-TW" sz="2000" b="1" u="sng" dirty="0" err="1">
                <a:latin typeface="Calibri" panose="020F0502020204030204" pitchFamily="34" charset="0"/>
                <a:cs typeface="Calibri" panose="020F0502020204030204" pitchFamily="34" charset="0"/>
              </a:rPr>
              <a:t>Cencora</a:t>
            </a:r>
            <a:r>
              <a:rPr lang="en-US" altLang="zh-TW" sz="2000" b="1" u="sng" dirty="0">
                <a:latin typeface="Calibri" panose="020F0502020204030204" pitchFamily="34" charset="0"/>
                <a:cs typeface="Calibri" panose="020F0502020204030204" pitchFamily="34" charset="0"/>
              </a:rPr>
              <a:t> data breach </a:t>
            </a:r>
          </a:p>
        </p:txBody>
      </p:sp>
      <p:sp>
        <p:nvSpPr>
          <p:cNvPr id="5" name="文字方塊 4">
            <a:extLst>
              <a:ext uri="{FF2B5EF4-FFF2-40B4-BE49-F238E27FC236}">
                <a16:creationId xmlns:a16="http://schemas.microsoft.com/office/drawing/2014/main" id="{1EA252BC-DED7-D92A-28D7-DE5662392912}"/>
              </a:ext>
            </a:extLst>
          </p:cNvPr>
          <p:cNvSpPr txBox="1"/>
          <p:nvPr/>
        </p:nvSpPr>
        <p:spPr>
          <a:xfrm>
            <a:off x="2121991" y="4575045"/>
            <a:ext cx="3100094" cy="1800492"/>
          </a:xfrm>
          <a:prstGeom prst="rect">
            <a:avLst/>
          </a:prstGeom>
          <a:noFill/>
        </p:spPr>
        <p:txBody>
          <a:bodyPr wrap="square">
            <a:spAutoFit/>
          </a:bodyPr>
          <a:lstStyle/>
          <a:p>
            <a:r>
              <a:rPr lang="en-US" altLang="zh-TW" sz="1200" b="1" i="0" dirty="0">
                <a:solidFill>
                  <a:srgbClr val="000000"/>
                </a:solidFill>
                <a:effectLst/>
                <a:latin typeface="Titillium Web" panose="020F0502020204030204" pitchFamily="2" charset="0"/>
              </a:rPr>
              <a:t>CrowdStrike (NASDAQ: CRWD) is facing lawsuits from investors and customers following the incident that caused massive global outages, but some believe the company is likely shielded from legal action. </a:t>
            </a:r>
            <a:r>
              <a:rPr lang="en-US" altLang="zh-TW" sz="1200" b="0" i="0" dirty="0">
                <a:solidFill>
                  <a:srgbClr val="1A1A1A"/>
                </a:solidFill>
                <a:effectLst/>
                <a:latin typeface="BreveText"/>
              </a:rPr>
              <a:t>On July 29, Delta informed CrowdStrike and Microsoft of its intent to sue over the </a:t>
            </a:r>
            <a:r>
              <a:rPr lang="en-US" altLang="zh-TW" sz="1200" b="0" i="0" u="sng" dirty="0">
                <a:solidFill>
                  <a:srgbClr val="1A1A1A"/>
                </a:solidFill>
                <a:effectLst/>
                <a:latin typeface="BreveText"/>
                <a:hlinkClick r:id="rId3"/>
              </a:rPr>
              <a:t>$500 million it claims to have lost</a:t>
            </a:r>
            <a:r>
              <a:rPr lang="en-US" altLang="zh-TW" sz="1200" b="0" i="0" dirty="0">
                <a:solidFill>
                  <a:srgbClr val="1A1A1A"/>
                </a:solidFill>
                <a:effectLst/>
                <a:latin typeface="BreveText"/>
              </a:rPr>
              <a:t> as a result of the outage</a:t>
            </a:r>
            <a:endParaRPr lang="zh-TW" altLang="en-US" sz="1200" dirty="0"/>
          </a:p>
        </p:txBody>
      </p:sp>
      <p:pic>
        <p:nvPicPr>
          <p:cNvPr id="6" name="圖片 5">
            <a:extLst>
              <a:ext uri="{FF2B5EF4-FFF2-40B4-BE49-F238E27FC236}">
                <a16:creationId xmlns:a16="http://schemas.microsoft.com/office/drawing/2014/main" id="{BC761E88-BEC8-0BB4-857F-9C827E9E1634}"/>
              </a:ext>
            </a:extLst>
          </p:cNvPr>
          <p:cNvPicPr>
            <a:picLocks noChangeAspect="1"/>
          </p:cNvPicPr>
          <p:nvPr/>
        </p:nvPicPr>
        <p:blipFill>
          <a:blip r:embed="rId4"/>
          <a:stretch>
            <a:fillRect/>
          </a:stretch>
        </p:blipFill>
        <p:spPr>
          <a:xfrm>
            <a:off x="6574634" y="1952066"/>
            <a:ext cx="3082931" cy="1841269"/>
          </a:xfrm>
          <a:prstGeom prst="rect">
            <a:avLst/>
          </a:prstGeom>
          <a:effectLst>
            <a:reflection blurRad="6350" stA="52000" endA="300" endPos="35000" dir="5400000" sy="-100000" algn="bl" rotWithShape="0"/>
          </a:effectLst>
        </p:spPr>
      </p:pic>
      <p:sp>
        <p:nvSpPr>
          <p:cNvPr id="7" name="文字方塊 6">
            <a:extLst>
              <a:ext uri="{FF2B5EF4-FFF2-40B4-BE49-F238E27FC236}">
                <a16:creationId xmlns:a16="http://schemas.microsoft.com/office/drawing/2014/main" id="{DC2E80EC-871F-7353-0AD0-B601EE572C9E}"/>
              </a:ext>
            </a:extLst>
          </p:cNvPr>
          <p:cNvSpPr txBox="1"/>
          <p:nvPr/>
        </p:nvSpPr>
        <p:spPr>
          <a:xfrm>
            <a:off x="6574635" y="4326229"/>
            <a:ext cx="3162300" cy="2085186"/>
          </a:xfrm>
          <a:prstGeom prst="rect">
            <a:avLst/>
          </a:prstGeom>
          <a:noFill/>
        </p:spPr>
        <p:txBody>
          <a:bodyPr wrap="square">
            <a:spAutoFit/>
          </a:bodyPr>
          <a:lstStyle/>
          <a:p>
            <a:pPr algn="l"/>
            <a:r>
              <a:rPr lang="en-US" altLang="zh-TW" sz="1200" b="1" i="0" dirty="0">
                <a:solidFill>
                  <a:srgbClr val="000000"/>
                </a:solidFill>
                <a:effectLst/>
                <a:latin typeface="Titillium Web" panose="00000500000000000000" pitchFamily="2" charset="0"/>
              </a:rPr>
              <a:t>11 drug companies that partner with </a:t>
            </a:r>
            <a:r>
              <a:rPr lang="en-US" altLang="zh-TW" sz="1200" b="1" i="0" dirty="0" err="1">
                <a:solidFill>
                  <a:srgbClr val="000000"/>
                </a:solidFill>
                <a:effectLst/>
                <a:latin typeface="Titillium Web" panose="00000500000000000000" pitchFamily="2" charset="0"/>
              </a:rPr>
              <a:t>Cencora</a:t>
            </a:r>
            <a:r>
              <a:rPr lang="en-US" altLang="zh-TW" sz="1200" b="1" i="0" dirty="0">
                <a:solidFill>
                  <a:srgbClr val="000000"/>
                </a:solidFill>
                <a:effectLst/>
                <a:latin typeface="Titillium Web" panose="00000500000000000000" pitchFamily="2" charset="0"/>
              </a:rPr>
              <a:t> have disclosed data breaches of their own. These include:</a:t>
            </a:r>
          </a:p>
          <a:p>
            <a:pPr algn="l">
              <a:buFont typeface="+mj-lt"/>
              <a:buAutoNum type="arabicPeriod"/>
            </a:pPr>
            <a:r>
              <a:rPr lang="en-US" altLang="zh-TW" sz="550" b="0" i="0" dirty="0">
                <a:solidFill>
                  <a:srgbClr val="000000"/>
                </a:solidFill>
                <a:effectLst/>
                <a:latin typeface="Lato" panose="020F0502020204030203" pitchFamily="34" charset="0"/>
              </a:rPr>
              <a:t>Bayer Corporation – major pharmaceutical firm known for the origin and first marketing of aspirin.</a:t>
            </a:r>
          </a:p>
          <a:p>
            <a:pPr algn="l">
              <a:buFont typeface="+mj-lt"/>
              <a:buAutoNum type="arabicPeriod"/>
            </a:pPr>
            <a:r>
              <a:rPr lang="en-US" altLang="zh-TW" sz="550" b="0" i="0" dirty="0">
                <a:solidFill>
                  <a:srgbClr val="000000"/>
                </a:solidFill>
                <a:effectLst/>
                <a:latin typeface="Lato" panose="020F0502020204030203" pitchFamily="34" charset="0"/>
              </a:rPr>
              <a:t>Novartis Pharmaceuticals – one of the largest pharmaceutical companies in the world.</a:t>
            </a:r>
          </a:p>
          <a:p>
            <a:pPr algn="l">
              <a:buFont typeface="+mj-lt"/>
              <a:buAutoNum type="arabicPeriod"/>
            </a:pPr>
            <a:r>
              <a:rPr lang="en-US" altLang="zh-TW" sz="550" b="0" i="0" dirty="0">
                <a:solidFill>
                  <a:srgbClr val="000000"/>
                </a:solidFill>
                <a:effectLst/>
                <a:latin typeface="Lato" panose="020F0502020204030203" pitchFamily="34" charset="0"/>
              </a:rPr>
              <a:t>Regeneron Pharmaceuticals Inc – known for ophthalmology, oncology and immunology treatments.</a:t>
            </a:r>
          </a:p>
          <a:p>
            <a:pPr algn="l">
              <a:buFont typeface="+mj-lt"/>
              <a:buAutoNum type="arabicPeriod"/>
            </a:pPr>
            <a:r>
              <a:rPr lang="en-US" altLang="zh-TW" sz="550" b="0" i="0" dirty="0">
                <a:solidFill>
                  <a:srgbClr val="000000"/>
                </a:solidFill>
                <a:effectLst/>
                <a:latin typeface="Lato" panose="020F0502020204030203" pitchFamily="34" charset="0"/>
              </a:rPr>
              <a:t>AbbVie Inc – the creator of Humira, used to treat rheumatoid arthritis, among other things.</a:t>
            </a:r>
          </a:p>
          <a:p>
            <a:pPr algn="l">
              <a:buFont typeface="+mj-lt"/>
              <a:buAutoNum type="arabicPeriod"/>
            </a:pPr>
            <a:r>
              <a:rPr lang="en-US" altLang="zh-TW" sz="550" b="0" i="0" dirty="0">
                <a:solidFill>
                  <a:srgbClr val="000000"/>
                </a:solidFill>
                <a:effectLst/>
                <a:latin typeface="Lato" panose="020F0502020204030203" pitchFamily="34" charset="0"/>
              </a:rPr>
              <a:t>Incyte Corporation – developer of drugs like Jakafi which is used to treat a type of bone marrow cancer called myelofibrosis.</a:t>
            </a:r>
          </a:p>
          <a:p>
            <a:pPr algn="l">
              <a:buFont typeface="+mj-lt"/>
              <a:buAutoNum type="arabicPeriod"/>
            </a:pPr>
            <a:r>
              <a:rPr lang="en-US" altLang="zh-TW" sz="550" b="0" i="0" dirty="0">
                <a:solidFill>
                  <a:srgbClr val="000000"/>
                </a:solidFill>
                <a:effectLst/>
                <a:latin typeface="Lato" panose="020F0502020204030203" pitchFamily="34" charset="0"/>
              </a:rPr>
              <a:t>Genentech Inc – a leader in biotechnology which has made strides in the treatment of cancer.</a:t>
            </a:r>
          </a:p>
          <a:p>
            <a:pPr algn="l">
              <a:buFont typeface="+mj-lt"/>
              <a:buAutoNum type="arabicPeriod"/>
            </a:pPr>
            <a:r>
              <a:rPr lang="en-US" altLang="zh-TW" sz="550" b="0" i="0" dirty="0">
                <a:solidFill>
                  <a:srgbClr val="000000"/>
                </a:solidFill>
                <a:effectLst/>
                <a:latin typeface="Lato" panose="020F0502020204030203" pitchFamily="34" charset="0"/>
              </a:rPr>
              <a:t>Sumitomo Pharma America Inc – </a:t>
            </a:r>
            <a:r>
              <a:rPr lang="en-US" altLang="zh-TW" sz="550" b="0" i="0" dirty="0" err="1">
                <a:solidFill>
                  <a:srgbClr val="000000"/>
                </a:solidFill>
                <a:effectLst/>
                <a:latin typeface="Lato" panose="020F0502020204030203" pitchFamily="34" charset="0"/>
              </a:rPr>
              <a:t>specialises</a:t>
            </a:r>
            <a:r>
              <a:rPr lang="en-US" altLang="zh-TW" sz="550" b="0" i="0" dirty="0">
                <a:solidFill>
                  <a:srgbClr val="000000"/>
                </a:solidFill>
                <a:effectLst/>
                <a:latin typeface="Lato" panose="020F0502020204030203" pitchFamily="34" charset="0"/>
              </a:rPr>
              <a:t> in neurology, oncology, and psychiatry.</a:t>
            </a:r>
          </a:p>
          <a:p>
            <a:pPr algn="l">
              <a:buFont typeface="+mj-lt"/>
              <a:buAutoNum type="arabicPeriod"/>
            </a:pPr>
            <a:r>
              <a:rPr lang="en-US" altLang="zh-TW" sz="550" b="0" i="0" dirty="0">
                <a:solidFill>
                  <a:srgbClr val="000000"/>
                </a:solidFill>
                <a:effectLst/>
                <a:latin typeface="Lato" panose="020F0502020204030203" pitchFamily="34" charset="0"/>
              </a:rPr>
              <a:t>GlaxoSmithKline Group – a global </a:t>
            </a:r>
            <a:r>
              <a:rPr lang="en-US" altLang="zh-TW" sz="550" b="0" i="0" dirty="0" err="1">
                <a:solidFill>
                  <a:srgbClr val="000000"/>
                </a:solidFill>
                <a:effectLst/>
                <a:latin typeface="Lato" panose="020F0502020204030203" pitchFamily="34" charset="0"/>
              </a:rPr>
              <a:t>organisation</a:t>
            </a:r>
            <a:r>
              <a:rPr lang="en-US" altLang="zh-TW" sz="550" b="0" i="0" dirty="0">
                <a:solidFill>
                  <a:srgbClr val="000000"/>
                </a:solidFill>
                <a:effectLst/>
                <a:latin typeface="Lato" panose="020F0502020204030203" pitchFamily="34" charset="0"/>
              </a:rPr>
              <a:t> catering to a wide range of medical treatments such as vaccines, pharmaceuticals and consumer healthcare.</a:t>
            </a:r>
          </a:p>
          <a:p>
            <a:pPr algn="l">
              <a:buFont typeface="+mj-lt"/>
              <a:buAutoNum type="arabicPeriod"/>
            </a:pPr>
            <a:r>
              <a:rPr lang="en-US" altLang="zh-TW" sz="550" b="0" i="0" dirty="0">
                <a:solidFill>
                  <a:srgbClr val="000000"/>
                </a:solidFill>
                <a:effectLst/>
                <a:latin typeface="Lato" panose="020F0502020204030203" pitchFamily="34" charset="0"/>
              </a:rPr>
              <a:t>Acadia Pharmaceuticals Inc – creates treatments for central nervous system disorders.</a:t>
            </a:r>
          </a:p>
          <a:p>
            <a:pPr algn="l">
              <a:buFont typeface="+mj-lt"/>
              <a:buAutoNum type="arabicPeriod"/>
            </a:pPr>
            <a:r>
              <a:rPr lang="en-US" altLang="zh-TW" sz="550" b="0" i="0" dirty="0">
                <a:solidFill>
                  <a:srgbClr val="000000"/>
                </a:solidFill>
                <a:effectLst/>
                <a:latin typeface="Lato" panose="020F0502020204030203" pitchFamily="34" charset="0"/>
              </a:rPr>
              <a:t>Endo Pharmaceuticals Inc – develops medication for areas such as urology, endocrinology and pain management.</a:t>
            </a:r>
          </a:p>
          <a:p>
            <a:pPr algn="l">
              <a:buFont typeface="+mj-lt"/>
              <a:buAutoNum type="arabicPeriod"/>
            </a:pPr>
            <a:r>
              <a:rPr lang="en-US" altLang="zh-TW" sz="550" b="0" i="0" dirty="0" err="1">
                <a:solidFill>
                  <a:srgbClr val="000000"/>
                </a:solidFill>
                <a:effectLst/>
                <a:latin typeface="Lato" panose="020F0502020204030203" pitchFamily="34" charset="0"/>
              </a:rPr>
              <a:t>Dendreon</a:t>
            </a:r>
            <a:r>
              <a:rPr lang="en-US" altLang="zh-TW" sz="550" b="0" i="0" dirty="0">
                <a:solidFill>
                  <a:srgbClr val="000000"/>
                </a:solidFill>
                <a:effectLst/>
                <a:latin typeface="Lato" panose="020F0502020204030203" pitchFamily="34" charset="0"/>
              </a:rPr>
              <a:t> Pharmaceuticals LLC – </a:t>
            </a:r>
            <a:r>
              <a:rPr lang="en-US" altLang="zh-TW" sz="550" b="0" i="0" dirty="0" err="1">
                <a:solidFill>
                  <a:srgbClr val="000000"/>
                </a:solidFill>
                <a:effectLst/>
                <a:latin typeface="Lato" panose="020F0502020204030203" pitchFamily="34" charset="0"/>
              </a:rPr>
              <a:t>specialises</a:t>
            </a:r>
            <a:r>
              <a:rPr lang="en-US" altLang="zh-TW" sz="550" b="0" i="0" dirty="0">
                <a:solidFill>
                  <a:srgbClr val="000000"/>
                </a:solidFill>
                <a:effectLst/>
                <a:latin typeface="Lato" panose="020F0502020204030203" pitchFamily="34" charset="0"/>
              </a:rPr>
              <a:t> in oncology and developing immunotherapy treatments for prostate cancer.</a:t>
            </a:r>
          </a:p>
        </p:txBody>
      </p:sp>
      <p:sp>
        <p:nvSpPr>
          <p:cNvPr id="8" name="標題 3">
            <a:extLst>
              <a:ext uri="{FF2B5EF4-FFF2-40B4-BE49-F238E27FC236}">
                <a16:creationId xmlns:a16="http://schemas.microsoft.com/office/drawing/2014/main" id="{AE62CE60-F33A-6231-B035-EAF9CF0D21A8}"/>
              </a:ext>
            </a:extLst>
          </p:cNvPr>
          <p:cNvSpPr txBox="1">
            <a:spLocks/>
          </p:cNvSpPr>
          <p:nvPr/>
        </p:nvSpPr>
        <p:spPr>
          <a:xfrm>
            <a:off x="585611" y="943005"/>
            <a:ext cx="9504181" cy="360099"/>
          </a:xfrm>
          <a:prstGeom prst="rect">
            <a:avLst/>
          </a:prstGeom>
        </p:spPr>
        <p:txBody>
          <a:bodyPr/>
          <a:lstStyle>
            <a:lvl1pPr algn="l" defTabSz="914400" rtl="0" eaLnBrk="1" latinLnBrk="0" hangingPunct="1">
              <a:lnSpc>
                <a:spcPct val="90000"/>
              </a:lnSpc>
              <a:spcBef>
                <a:spcPct val="0"/>
              </a:spcBef>
              <a:buNone/>
              <a:defRPr sz="2600" b="0" kern="1200">
                <a:solidFill>
                  <a:schemeClr val="tx1"/>
                </a:solidFill>
                <a:latin typeface="+mj-lt"/>
                <a:ea typeface="+mj-ea"/>
                <a:cs typeface="+mj-cs"/>
              </a:defRPr>
            </a:lvl1pPr>
          </a:lstStyle>
          <a:p>
            <a:r>
              <a:rPr lang="en-US" altLang="zh-TW" dirty="0"/>
              <a:t>It did happen!</a:t>
            </a:r>
            <a:endParaRPr lang="zh-TW" altLang="en-US" dirty="0"/>
          </a:p>
        </p:txBody>
      </p:sp>
    </p:spTree>
    <p:extLst>
      <p:ext uri="{BB962C8B-B14F-4D97-AF65-F5344CB8AC3E}">
        <p14:creationId xmlns:p14="http://schemas.microsoft.com/office/powerpoint/2010/main" val="4176609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a:extLst>
              <a:ext uri="{FF2B5EF4-FFF2-40B4-BE49-F238E27FC236}">
                <a16:creationId xmlns:a16="http://schemas.microsoft.com/office/drawing/2014/main" id="{692C1B38-1332-4D97-A440-A2F3B0C57EAB}"/>
              </a:ext>
            </a:extLst>
          </p:cNvPr>
          <p:cNvSpPr>
            <a:spLocks noGrp="1"/>
          </p:cNvSpPr>
          <p:nvPr>
            <p:ph type="sldNum" sz="quarter" idx="4"/>
          </p:nvPr>
        </p:nvSpPr>
        <p:spPr/>
        <p:txBody>
          <a:bodyPr/>
          <a:lstStyle/>
          <a:p>
            <a:fld id="{4C0C40C3-3CCF-4B11-80C9-BCC62D2234EE}" type="slidenum">
              <a:rPr lang="en-US" smtClean="0"/>
              <a:pPr/>
              <a:t>13</a:t>
            </a:fld>
            <a:endParaRPr lang="en-US" dirty="0"/>
          </a:p>
        </p:txBody>
      </p:sp>
      <p:sp>
        <p:nvSpPr>
          <p:cNvPr id="4" name="標題 3">
            <a:extLst>
              <a:ext uri="{FF2B5EF4-FFF2-40B4-BE49-F238E27FC236}">
                <a16:creationId xmlns:a16="http://schemas.microsoft.com/office/drawing/2014/main" id="{274B9050-3B5C-40B3-8481-E4A22C29725E}"/>
              </a:ext>
            </a:extLst>
          </p:cNvPr>
          <p:cNvSpPr>
            <a:spLocks noGrp="1"/>
          </p:cNvSpPr>
          <p:nvPr>
            <p:ph type="title"/>
          </p:nvPr>
        </p:nvSpPr>
        <p:spPr/>
        <p:txBody>
          <a:bodyPr/>
          <a:lstStyle/>
          <a:p>
            <a:r>
              <a:rPr lang="en-US" altLang="zh-TW" dirty="0"/>
              <a:t>Cybersecurity Strategy &amp; Practice  </a:t>
            </a:r>
            <a:endParaRPr lang="zh-TW" altLang="en-US" dirty="0"/>
          </a:p>
        </p:txBody>
      </p:sp>
      <p:sp>
        <p:nvSpPr>
          <p:cNvPr id="10" name="Rectangle 1">
            <a:extLst>
              <a:ext uri="{FF2B5EF4-FFF2-40B4-BE49-F238E27FC236}">
                <a16:creationId xmlns:a16="http://schemas.microsoft.com/office/drawing/2014/main" id="{5F020669-A4C9-CF2E-4813-F9BA47A93ED7}"/>
              </a:ext>
            </a:extLst>
          </p:cNvPr>
          <p:cNvSpPr txBox="1">
            <a:spLocks noChangeArrowheads="1"/>
          </p:cNvSpPr>
          <p:nvPr/>
        </p:nvSpPr>
        <p:spPr bwMode="auto">
          <a:xfrm>
            <a:off x="1010267" y="1507294"/>
            <a:ext cx="3054528" cy="4985980"/>
          </a:xfrm>
          <a:prstGeom prst="rect">
            <a:avLst/>
          </a:prstGeom>
          <a:solidFill>
            <a:schemeClr val="bg1">
              <a:lumMod val="95000"/>
            </a:schemeClr>
          </a:solidFill>
          <a:ln>
            <a:noFill/>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spAutoFit/>
          </a:bodyPr>
          <a:lstStyle>
            <a:lvl1pPr marL="228600" indent="-228600" algn="l" defTabSz="914400" rtl="0" eaLnBrk="1" latinLnBrk="0" hangingPunct="1">
              <a:lnSpc>
                <a:spcPct val="100000"/>
              </a:lnSpc>
              <a:spcBef>
                <a:spcPts val="1000"/>
              </a:spcBef>
              <a:buClr>
                <a:schemeClr val="tx2"/>
              </a:buClr>
              <a:buFont typeface="Wingdings" panose="05000000000000000000" pitchFamily="2" charset="2"/>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1000"/>
              </a:spcBef>
              <a:buClr>
                <a:schemeClr val="tx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100000"/>
              </a:lnSpc>
              <a:spcBef>
                <a:spcPts val="1000"/>
              </a:spcBef>
              <a:buClr>
                <a:schemeClr val="tx2"/>
              </a:buClr>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1000"/>
              </a:spcBef>
              <a:buClr>
                <a:schemeClr val="tx2"/>
              </a:buClr>
              <a:buFont typeface="Wingdings" panose="05000000000000000000" pitchFamily="2" charset="2"/>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1000"/>
              </a:spcBef>
              <a:buClr>
                <a:schemeClr val="tx2"/>
              </a:buClr>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eaLnBrk="0" fontAlgn="base" hangingPunct="0">
              <a:spcBef>
                <a:spcPct val="0"/>
              </a:spcBef>
              <a:spcAft>
                <a:spcPct val="0"/>
              </a:spcAft>
              <a:buClrTx/>
              <a:buFontTx/>
              <a:buNone/>
            </a:pPr>
            <a:r>
              <a:rPr lang="en-US" altLang="zh-TW" sz="1200" b="1" dirty="0">
                <a:latin typeface="Calibri" panose="020F0502020204030204" pitchFamily="34" charset="0"/>
                <a:cs typeface="Calibri" panose="020F0502020204030204" pitchFamily="34" charset="0"/>
              </a:rPr>
              <a:t>A. </a:t>
            </a:r>
            <a:r>
              <a:rPr lang="zh-TW" altLang="zh-TW" sz="1200" b="1" dirty="0">
                <a:latin typeface="Calibri" panose="020F0502020204030204" pitchFamily="34" charset="0"/>
                <a:cs typeface="Calibri" panose="020F0502020204030204" pitchFamily="34" charset="0"/>
              </a:rPr>
              <a:t>Cybersecurity Standards and Policies</a:t>
            </a:r>
            <a:endParaRPr lang="en-US" altLang="zh-TW" sz="1200" b="1" dirty="0">
              <a:latin typeface="Calibri" panose="020F0502020204030204" pitchFamily="34" charset="0"/>
              <a:cs typeface="Calibri" panose="020F0502020204030204" pitchFamily="34" charset="0"/>
            </a:endParaRP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Establish Supplier Cybersecurity Standards</a:t>
            </a:r>
            <a:endParaRPr lang="en-US" altLang="zh-TW" sz="1000" dirty="0">
              <a:latin typeface="Calibri" panose="020F0502020204030204" pitchFamily="34" charset="0"/>
              <a:cs typeface="Calibri" panose="020F0502020204030204" pitchFamily="34" charset="0"/>
            </a:endParaRP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Enforce Compliance</a:t>
            </a:r>
            <a:endParaRPr lang="en-US" altLang="zh-TW" sz="1000" dirty="0">
              <a:latin typeface="Calibri" panose="020F0502020204030204" pitchFamily="34" charset="0"/>
              <a:cs typeface="Calibri" panose="020F0502020204030204" pitchFamily="34" charset="0"/>
            </a:endParaRPr>
          </a:p>
          <a:p>
            <a:pPr marL="0" indent="0" eaLnBrk="0" fontAlgn="base" hangingPunct="0">
              <a:spcBef>
                <a:spcPct val="0"/>
              </a:spcBef>
              <a:spcAft>
                <a:spcPct val="0"/>
              </a:spcAft>
              <a:buClrTx/>
              <a:buFont typeface="Wingdings" panose="05000000000000000000" pitchFamily="2" charset="2"/>
              <a:buNone/>
            </a:pPr>
            <a:endParaRPr lang="zh-TW" altLang="zh-TW" sz="1200" b="1" dirty="0">
              <a:latin typeface="Calibri" panose="020F0502020204030204" pitchFamily="34" charset="0"/>
              <a:cs typeface="Calibri" panose="020F0502020204030204" pitchFamily="34" charset="0"/>
            </a:endParaRPr>
          </a:p>
          <a:p>
            <a:pPr marL="0" indent="0" eaLnBrk="0" fontAlgn="base" hangingPunct="0">
              <a:spcBef>
                <a:spcPct val="0"/>
              </a:spcBef>
              <a:spcAft>
                <a:spcPct val="0"/>
              </a:spcAft>
              <a:buClrTx/>
              <a:buFontTx/>
              <a:buNone/>
            </a:pPr>
            <a:r>
              <a:rPr lang="en-US" altLang="zh-TW" sz="1200" b="1" dirty="0">
                <a:latin typeface="Calibri" panose="020F0502020204030204" pitchFamily="34" charset="0"/>
                <a:cs typeface="Calibri" panose="020F0502020204030204" pitchFamily="34" charset="0"/>
              </a:rPr>
              <a:t>B. </a:t>
            </a:r>
            <a:r>
              <a:rPr lang="zh-TW" altLang="zh-TW" sz="1200" b="1" dirty="0">
                <a:latin typeface="Calibri" panose="020F0502020204030204" pitchFamily="34" charset="0"/>
                <a:cs typeface="Calibri" panose="020F0502020204030204" pitchFamily="34" charset="0"/>
              </a:rPr>
              <a:t>Incident Response Collaboration</a:t>
            </a: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Joint Incident Response Planning</a:t>
            </a: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Breach Notification Obligations</a:t>
            </a:r>
            <a:endParaRPr lang="en-US" altLang="zh-TW" sz="1000" dirty="0">
              <a:latin typeface="Calibri" panose="020F0502020204030204" pitchFamily="34" charset="0"/>
              <a:cs typeface="Calibri" panose="020F0502020204030204" pitchFamily="34" charset="0"/>
            </a:endParaRP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Incident Drills</a:t>
            </a:r>
            <a:endParaRPr lang="en-US" altLang="zh-TW" sz="1000" dirty="0">
              <a:latin typeface="Calibri" panose="020F0502020204030204" pitchFamily="34" charset="0"/>
              <a:cs typeface="Calibri" panose="020F0502020204030204" pitchFamily="34" charset="0"/>
            </a:endParaRPr>
          </a:p>
          <a:p>
            <a:pPr marL="0" indent="0" eaLnBrk="0" fontAlgn="base" hangingPunct="0">
              <a:spcBef>
                <a:spcPct val="0"/>
              </a:spcBef>
              <a:spcAft>
                <a:spcPct val="0"/>
              </a:spcAft>
              <a:buClrTx/>
              <a:buFont typeface="Wingdings" panose="05000000000000000000" pitchFamily="2" charset="2"/>
              <a:buNone/>
            </a:pPr>
            <a:endParaRPr lang="en-US" altLang="zh-TW" sz="1200" b="1" dirty="0">
              <a:latin typeface="Calibri" panose="020F0502020204030204" pitchFamily="34" charset="0"/>
              <a:cs typeface="Calibri" panose="020F0502020204030204" pitchFamily="34" charset="0"/>
            </a:endParaRPr>
          </a:p>
          <a:p>
            <a:pPr marL="0" indent="0" eaLnBrk="0" fontAlgn="base" hangingPunct="0">
              <a:spcBef>
                <a:spcPct val="0"/>
              </a:spcBef>
              <a:spcAft>
                <a:spcPct val="0"/>
              </a:spcAft>
              <a:buClrTx/>
              <a:buFontTx/>
              <a:buNone/>
            </a:pPr>
            <a:r>
              <a:rPr lang="en-US" altLang="zh-TW" sz="1200" b="1" dirty="0">
                <a:latin typeface="Calibri" panose="020F0502020204030204" pitchFamily="34" charset="0"/>
                <a:cs typeface="Calibri" panose="020F0502020204030204" pitchFamily="34" charset="0"/>
              </a:rPr>
              <a:t>C. </a:t>
            </a:r>
            <a:r>
              <a:rPr lang="zh-TW" altLang="zh-TW" sz="1200" b="1" dirty="0">
                <a:latin typeface="Calibri" panose="020F0502020204030204" pitchFamily="34" charset="0"/>
                <a:cs typeface="Calibri" panose="020F0502020204030204" pitchFamily="34" charset="0"/>
              </a:rPr>
              <a:t>Data Access Control and Encryption</a:t>
            </a: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Limit Data Access </a:t>
            </a:r>
            <a:endParaRPr lang="en-US" altLang="zh-TW" sz="1000" dirty="0">
              <a:latin typeface="Calibri" panose="020F0502020204030204" pitchFamily="34" charset="0"/>
              <a:cs typeface="Calibri" panose="020F0502020204030204" pitchFamily="34" charset="0"/>
            </a:endParaRP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Data Encryption</a:t>
            </a:r>
            <a:endParaRPr lang="en-US" altLang="zh-TW" sz="1000" dirty="0">
              <a:latin typeface="Calibri" panose="020F0502020204030204" pitchFamily="34" charset="0"/>
              <a:cs typeface="Calibri" panose="020F0502020204030204" pitchFamily="34" charset="0"/>
            </a:endParaRPr>
          </a:p>
          <a:p>
            <a:pPr marL="0" indent="0" eaLnBrk="0" fontAlgn="base" hangingPunct="0">
              <a:spcBef>
                <a:spcPct val="0"/>
              </a:spcBef>
              <a:spcAft>
                <a:spcPct val="0"/>
              </a:spcAft>
              <a:buClrTx/>
              <a:buFont typeface="Wingdings" panose="05000000000000000000" pitchFamily="2" charset="2"/>
              <a:buNone/>
            </a:pPr>
            <a:endParaRPr lang="zh-TW" altLang="zh-TW" sz="1200" b="1" dirty="0">
              <a:latin typeface="Calibri" panose="020F0502020204030204" pitchFamily="34" charset="0"/>
              <a:cs typeface="Calibri" panose="020F0502020204030204" pitchFamily="34" charset="0"/>
            </a:endParaRPr>
          </a:p>
          <a:p>
            <a:pPr marL="0" indent="0" eaLnBrk="0" fontAlgn="base" hangingPunct="0">
              <a:spcBef>
                <a:spcPct val="0"/>
              </a:spcBef>
              <a:spcAft>
                <a:spcPct val="0"/>
              </a:spcAft>
              <a:buClrTx/>
              <a:buFontTx/>
              <a:buNone/>
            </a:pPr>
            <a:r>
              <a:rPr lang="en-US" altLang="zh-TW" sz="1200" b="1" dirty="0">
                <a:latin typeface="Calibri" panose="020F0502020204030204" pitchFamily="34" charset="0"/>
                <a:cs typeface="Calibri" panose="020F0502020204030204" pitchFamily="34" charset="0"/>
              </a:rPr>
              <a:t>D. </a:t>
            </a:r>
            <a:r>
              <a:rPr lang="zh-TW" altLang="zh-TW" sz="1200" b="1" dirty="0">
                <a:latin typeface="Calibri" panose="020F0502020204030204" pitchFamily="34" charset="0"/>
                <a:cs typeface="Calibri" panose="020F0502020204030204" pitchFamily="34" charset="0"/>
              </a:rPr>
              <a:t>Supplier Offboarding</a:t>
            </a: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Data Return and Disposal</a:t>
            </a:r>
            <a:endParaRPr lang="en-US" altLang="zh-TW" sz="1000" dirty="0">
              <a:latin typeface="Calibri" panose="020F0502020204030204" pitchFamily="34" charset="0"/>
              <a:cs typeface="Calibri" panose="020F0502020204030204" pitchFamily="34" charset="0"/>
            </a:endParaRP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Access Removal</a:t>
            </a:r>
            <a:endParaRPr lang="en-US" altLang="zh-TW" sz="1000" dirty="0">
              <a:latin typeface="Calibri" panose="020F0502020204030204" pitchFamily="34" charset="0"/>
              <a:cs typeface="Calibri" panose="020F0502020204030204" pitchFamily="34" charset="0"/>
            </a:endParaRPr>
          </a:p>
          <a:p>
            <a:pPr marL="0" indent="0" eaLnBrk="0" fontAlgn="base" hangingPunct="0">
              <a:spcBef>
                <a:spcPct val="0"/>
              </a:spcBef>
              <a:spcAft>
                <a:spcPct val="0"/>
              </a:spcAft>
              <a:buClrTx/>
              <a:buFont typeface="Wingdings" panose="05000000000000000000" pitchFamily="2" charset="2"/>
              <a:buNone/>
            </a:pPr>
            <a:endParaRPr lang="zh-TW" altLang="zh-TW" sz="1200" b="1" dirty="0">
              <a:latin typeface="Calibri" panose="020F0502020204030204" pitchFamily="34" charset="0"/>
              <a:cs typeface="Calibri" panose="020F0502020204030204" pitchFamily="34" charset="0"/>
            </a:endParaRPr>
          </a:p>
          <a:p>
            <a:pPr marL="0" indent="0" eaLnBrk="0" fontAlgn="base" hangingPunct="0">
              <a:spcBef>
                <a:spcPct val="0"/>
              </a:spcBef>
              <a:spcAft>
                <a:spcPct val="0"/>
              </a:spcAft>
              <a:buClrTx/>
              <a:buFontTx/>
              <a:buNone/>
            </a:pPr>
            <a:r>
              <a:rPr lang="en-US" altLang="zh-TW" sz="1200" b="1" dirty="0">
                <a:latin typeface="Calibri" panose="020F0502020204030204" pitchFamily="34" charset="0"/>
                <a:cs typeface="Calibri" panose="020F0502020204030204" pitchFamily="34" charset="0"/>
              </a:rPr>
              <a:t>E. </a:t>
            </a:r>
            <a:r>
              <a:rPr lang="zh-TW" altLang="zh-TW" sz="1200" b="1" dirty="0">
                <a:latin typeface="Calibri" panose="020F0502020204030204" pitchFamily="34" charset="0"/>
                <a:cs typeface="Calibri" panose="020F0502020204030204" pitchFamily="34" charset="0"/>
              </a:rPr>
              <a:t>Regulatory Compliance and Industry Standards</a:t>
            </a: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Compliance with Laws and Regulations</a:t>
            </a: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Industry Certifications</a:t>
            </a:r>
            <a:endParaRPr lang="en-US" altLang="zh-TW" sz="1000" dirty="0">
              <a:latin typeface="Calibri" panose="020F0502020204030204" pitchFamily="34" charset="0"/>
              <a:cs typeface="Calibri" panose="020F0502020204030204" pitchFamily="34" charset="0"/>
            </a:endParaRPr>
          </a:p>
          <a:p>
            <a:pPr marL="0" indent="0" eaLnBrk="0" fontAlgn="base" hangingPunct="0">
              <a:spcBef>
                <a:spcPct val="0"/>
              </a:spcBef>
              <a:spcAft>
                <a:spcPct val="0"/>
              </a:spcAft>
              <a:buClrTx/>
              <a:buFont typeface="Wingdings" panose="05000000000000000000" pitchFamily="2" charset="2"/>
              <a:buNone/>
            </a:pPr>
            <a:endParaRPr lang="en-US" altLang="zh-TW" sz="1200" b="1" dirty="0">
              <a:latin typeface="Calibri" panose="020F0502020204030204" pitchFamily="34" charset="0"/>
              <a:cs typeface="Calibri" panose="020F0502020204030204" pitchFamily="34" charset="0"/>
            </a:endParaRPr>
          </a:p>
          <a:p>
            <a:pPr marL="0" indent="0" eaLnBrk="0" fontAlgn="base" hangingPunct="0">
              <a:spcBef>
                <a:spcPct val="0"/>
              </a:spcBef>
              <a:spcAft>
                <a:spcPct val="0"/>
              </a:spcAft>
              <a:buClrTx/>
              <a:buFontTx/>
              <a:buNone/>
            </a:pPr>
            <a:r>
              <a:rPr lang="en-US" altLang="zh-TW" sz="1200" b="1" dirty="0">
                <a:latin typeface="Calibri" panose="020F0502020204030204" pitchFamily="34" charset="0"/>
                <a:cs typeface="Calibri" panose="020F0502020204030204" pitchFamily="34" charset="0"/>
              </a:rPr>
              <a:t>F. </a:t>
            </a:r>
            <a:r>
              <a:rPr lang="zh-TW" altLang="zh-TW" sz="1200" b="1" dirty="0">
                <a:latin typeface="Calibri" panose="020F0502020204030204" pitchFamily="34" charset="0"/>
                <a:cs typeface="Calibri" panose="020F0502020204030204" pitchFamily="34" charset="0"/>
              </a:rPr>
              <a:t>Supplier Security Training and Awareness</a:t>
            </a: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Cybersecurity Awareness</a:t>
            </a:r>
            <a:endParaRPr lang="en-US" altLang="zh-TW" sz="1000" dirty="0">
              <a:latin typeface="Calibri" panose="020F0502020204030204" pitchFamily="34" charset="0"/>
              <a:cs typeface="Calibri" panose="020F0502020204030204" pitchFamily="34" charset="0"/>
            </a:endParaRP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Training on Supply Chain Risks</a:t>
            </a:r>
          </a:p>
          <a:p>
            <a:pPr marL="0" indent="0" eaLnBrk="0" fontAlgn="base" hangingPunct="0">
              <a:spcBef>
                <a:spcPct val="0"/>
              </a:spcBef>
              <a:spcAft>
                <a:spcPct val="0"/>
              </a:spcAft>
              <a:buClrTx/>
              <a:buFontTx/>
              <a:buNone/>
            </a:pPr>
            <a:endParaRPr lang="zh-TW" altLang="zh-TW" sz="1200" b="1" dirty="0">
              <a:latin typeface="Calibri" panose="020F0502020204030204" pitchFamily="34" charset="0"/>
              <a:cs typeface="Calibri" panose="020F0502020204030204" pitchFamily="34" charset="0"/>
            </a:endParaRPr>
          </a:p>
          <a:p>
            <a:pPr marL="0" indent="0" eaLnBrk="0" fontAlgn="base" hangingPunct="0">
              <a:spcBef>
                <a:spcPct val="0"/>
              </a:spcBef>
              <a:spcAft>
                <a:spcPct val="0"/>
              </a:spcAft>
              <a:buClrTx/>
              <a:buFontTx/>
              <a:buNone/>
            </a:pPr>
            <a:r>
              <a:rPr lang="en-US" altLang="zh-TW" sz="1200" b="1" dirty="0">
                <a:latin typeface="Calibri" panose="020F0502020204030204" pitchFamily="34" charset="0"/>
                <a:cs typeface="Calibri" panose="020F0502020204030204" pitchFamily="34" charset="0"/>
              </a:rPr>
              <a:t>G. </a:t>
            </a:r>
            <a:r>
              <a:rPr lang="zh-TW" altLang="zh-TW" sz="1200" b="1" dirty="0">
                <a:latin typeface="Calibri" panose="020F0502020204030204" pitchFamily="34" charset="0"/>
                <a:cs typeface="Calibri" panose="020F0502020204030204" pitchFamily="34" charset="0"/>
              </a:rPr>
              <a:t>Supply Chain Cybersecurity Regulations</a:t>
            </a: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Supply Chain Security Regulations</a:t>
            </a:r>
            <a:endParaRPr lang="en-US" altLang="zh-TW" sz="1000" dirty="0">
              <a:latin typeface="Calibri" panose="020F0502020204030204" pitchFamily="34" charset="0"/>
              <a:cs typeface="Calibri" panose="020F0502020204030204" pitchFamily="34" charset="0"/>
            </a:endParaRPr>
          </a:p>
          <a:p>
            <a:pPr eaLnBrk="0" fontAlgn="base" hangingPunct="0">
              <a:spcBef>
                <a:spcPct val="0"/>
              </a:spcBef>
              <a:spcAft>
                <a:spcPct val="0"/>
              </a:spcAft>
              <a:buClrTx/>
              <a:buFont typeface="Arial" panose="020B0604020202020204" pitchFamily="34" charset="0"/>
              <a:buChar char="•"/>
            </a:pPr>
            <a:r>
              <a:rPr lang="zh-TW" altLang="zh-TW" sz="1000" dirty="0">
                <a:latin typeface="Calibri" panose="020F0502020204030204" pitchFamily="34" charset="0"/>
                <a:cs typeface="Calibri" panose="020F0502020204030204" pitchFamily="34" charset="0"/>
              </a:rPr>
              <a:t>Global Supply Chain Risk Management</a:t>
            </a:r>
          </a:p>
        </p:txBody>
      </p:sp>
      <p:pic>
        <p:nvPicPr>
          <p:cNvPr id="16" name="圖片 15">
            <a:extLst>
              <a:ext uri="{FF2B5EF4-FFF2-40B4-BE49-F238E27FC236}">
                <a16:creationId xmlns:a16="http://schemas.microsoft.com/office/drawing/2014/main" id="{C09CDEDE-4CD7-2682-5ACF-C36D8053574A}"/>
              </a:ext>
            </a:extLst>
          </p:cNvPr>
          <p:cNvPicPr>
            <a:picLocks noChangeAspect="1"/>
          </p:cNvPicPr>
          <p:nvPr/>
        </p:nvPicPr>
        <p:blipFill>
          <a:blip r:embed="rId3"/>
          <a:stretch>
            <a:fillRect/>
          </a:stretch>
        </p:blipFill>
        <p:spPr>
          <a:xfrm>
            <a:off x="4147730" y="2207132"/>
            <a:ext cx="7192426" cy="2857105"/>
          </a:xfrm>
          <a:prstGeom prst="rect">
            <a:avLst/>
          </a:prstGeom>
        </p:spPr>
      </p:pic>
    </p:spTree>
    <p:extLst>
      <p:ext uri="{BB962C8B-B14F-4D97-AF65-F5344CB8AC3E}">
        <p14:creationId xmlns:p14="http://schemas.microsoft.com/office/powerpoint/2010/main" val="1570950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EF561E90-B9F3-3FAB-94E9-158ECBEE361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7326" y="1428751"/>
            <a:ext cx="5350669" cy="2389687"/>
          </a:xfrm>
          <a:prstGeom prst="rect">
            <a:avLst/>
          </a:prstGeom>
          <a:noFill/>
          <a:extLst>
            <a:ext uri="{909E8E84-426E-40DD-AFC4-6F175D3DCCD1}">
              <a14:hiddenFill xmlns:a14="http://schemas.microsoft.com/office/drawing/2010/main">
                <a:solidFill>
                  <a:srgbClr val="FFFFFF"/>
                </a:solidFill>
              </a14:hiddenFill>
            </a:ext>
          </a:extLst>
        </p:spPr>
      </p:pic>
      <p:pic>
        <p:nvPicPr>
          <p:cNvPr id="3" name="圖片 2">
            <a:extLst>
              <a:ext uri="{FF2B5EF4-FFF2-40B4-BE49-F238E27FC236}">
                <a16:creationId xmlns:a16="http://schemas.microsoft.com/office/drawing/2014/main" id="{2CC4B722-EAFA-AA6B-5108-F2383F3D233A}"/>
              </a:ext>
            </a:extLst>
          </p:cNvPr>
          <p:cNvPicPr>
            <a:picLocks noChangeAspect="1"/>
          </p:cNvPicPr>
          <p:nvPr/>
        </p:nvPicPr>
        <p:blipFill>
          <a:blip r:embed="rId3"/>
          <a:stretch>
            <a:fillRect/>
          </a:stretch>
        </p:blipFill>
        <p:spPr>
          <a:xfrm>
            <a:off x="3297725" y="4171949"/>
            <a:ext cx="6120177" cy="3337093"/>
          </a:xfrm>
          <a:prstGeom prst="rect">
            <a:avLst/>
          </a:prstGeom>
        </p:spPr>
      </p:pic>
      <p:sp>
        <p:nvSpPr>
          <p:cNvPr id="4" name="標題 3">
            <a:extLst>
              <a:ext uri="{FF2B5EF4-FFF2-40B4-BE49-F238E27FC236}">
                <a16:creationId xmlns:a16="http://schemas.microsoft.com/office/drawing/2014/main" id="{2EF47127-350B-CC29-03F5-2295F8756E2C}"/>
              </a:ext>
            </a:extLst>
          </p:cNvPr>
          <p:cNvSpPr txBox="1">
            <a:spLocks/>
          </p:cNvSpPr>
          <p:nvPr/>
        </p:nvSpPr>
        <p:spPr>
          <a:xfrm>
            <a:off x="184621" y="495491"/>
            <a:ext cx="9504181" cy="360099"/>
          </a:xfrm>
          <a:prstGeom prst="rect">
            <a:avLst/>
          </a:prstGeom>
        </p:spPr>
        <p:txBody>
          <a:bodyPr/>
          <a:lstStyle>
            <a:lvl1pPr algn="l" defTabSz="914400" rtl="0" eaLnBrk="1" latinLnBrk="0" hangingPunct="1">
              <a:lnSpc>
                <a:spcPct val="90000"/>
              </a:lnSpc>
              <a:spcBef>
                <a:spcPct val="0"/>
              </a:spcBef>
              <a:buNone/>
              <a:defRPr sz="2600" b="0" kern="1200">
                <a:solidFill>
                  <a:schemeClr val="tx1"/>
                </a:solidFill>
                <a:latin typeface="+mj-lt"/>
                <a:ea typeface="+mj-ea"/>
                <a:cs typeface="+mj-cs"/>
              </a:defRPr>
            </a:lvl1pPr>
          </a:lstStyle>
          <a:p>
            <a:r>
              <a:rPr lang="en-US" altLang="zh-TW" dirty="0"/>
              <a:t>Lotus vendor portal coming soon</a:t>
            </a:r>
            <a:endParaRPr lang="zh-TW" altLang="en-US" dirty="0"/>
          </a:p>
        </p:txBody>
      </p:sp>
    </p:spTree>
    <p:extLst>
      <p:ext uri="{BB962C8B-B14F-4D97-AF65-F5344CB8AC3E}">
        <p14:creationId xmlns:p14="http://schemas.microsoft.com/office/powerpoint/2010/main" val="13257608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群組 17">
            <a:extLst>
              <a:ext uri="{FF2B5EF4-FFF2-40B4-BE49-F238E27FC236}">
                <a16:creationId xmlns:a16="http://schemas.microsoft.com/office/drawing/2014/main" id="{3FF37327-8A7D-22F5-84BE-19BFBCC68A30}"/>
              </a:ext>
            </a:extLst>
          </p:cNvPr>
          <p:cNvGrpSpPr/>
          <p:nvPr/>
        </p:nvGrpSpPr>
        <p:grpSpPr>
          <a:xfrm>
            <a:off x="151881" y="866069"/>
            <a:ext cx="11888237" cy="4796117"/>
            <a:chOff x="150352" y="388373"/>
            <a:chExt cx="11487150" cy="5126295"/>
          </a:xfrm>
        </p:grpSpPr>
        <p:pic>
          <p:nvPicPr>
            <p:cNvPr id="5" name="圖片 4">
              <a:extLst>
                <a:ext uri="{FF2B5EF4-FFF2-40B4-BE49-F238E27FC236}">
                  <a16:creationId xmlns:a16="http://schemas.microsoft.com/office/drawing/2014/main" id="{215C1DE5-43C7-731A-1DE9-853F583B4F53}"/>
                </a:ext>
              </a:extLst>
            </p:cNvPr>
            <p:cNvPicPr>
              <a:picLocks noChangeAspect="1"/>
            </p:cNvPicPr>
            <p:nvPr/>
          </p:nvPicPr>
          <p:blipFill>
            <a:blip r:embed="rId3"/>
            <a:srcRect t="9561" b="11755"/>
            <a:stretch/>
          </p:blipFill>
          <p:spPr>
            <a:xfrm>
              <a:off x="150352" y="388373"/>
              <a:ext cx="11487150" cy="5126295"/>
            </a:xfrm>
            <a:prstGeom prst="rect">
              <a:avLst/>
            </a:prstGeom>
          </p:spPr>
        </p:pic>
        <p:grpSp>
          <p:nvGrpSpPr>
            <p:cNvPr id="17" name="群組 16">
              <a:extLst>
                <a:ext uri="{FF2B5EF4-FFF2-40B4-BE49-F238E27FC236}">
                  <a16:creationId xmlns:a16="http://schemas.microsoft.com/office/drawing/2014/main" id="{1310FF9A-35C4-64AD-BAA1-E5960561330D}"/>
                </a:ext>
              </a:extLst>
            </p:cNvPr>
            <p:cNvGrpSpPr/>
            <p:nvPr/>
          </p:nvGrpSpPr>
          <p:grpSpPr>
            <a:xfrm>
              <a:off x="8054726" y="935358"/>
              <a:ext cx="3069376" cy="2016163"/>
              <a:chOff x="8054726" y="935358"/>
              <a:chExt cx="3069376" cy="2016163"/>
            </a:xfrm>
            <a:solidFill>
              <a:schemeClr val="bg1"/>
            </a:solidFill>
          </p:grpSpPr>
          <p:sp>
            <p:nvSpPr>
              <p:cNvPr id="13" name="矩形 12">
                <a:extLst>
                  <a:ext uri="{FF2B5EF4-FFF2-40B4-BE49-F238E27FC236}">
                    <a16:creationId xmlns:a16="http://schemas.microsoft.com/office/drawing/2014/main" id="{24EABA7B-9F06-4CDB-B9E6-B92E78F3AE95}"/>
                  </a:ext>
                </a:extLst>
              </p:cNvPr>
              <p:cNvSpPr/>
              <p:nvPr/>
            </p:nvSpPr>
            <p:spPr>
              <a:xfrm>
                <a:off x="8059271" y="935358"/>
                <a:ext cx="3060286" cy="20809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4" name="矩形 13">
                <a:extLst>
                  <a:ext uri="{FF2B5EF4-FFF2-40B4-BE49-F238E27FC236}">
                    <a16:creationId xmlns:a16="http://schemas.microsoft.com/office/drawing/2014/main" id="{41D84DEC-4CD4-66D5-E1FA-E075751C90E9}"/>
                  </a:ext>
                </a:extLst>
              </p:cNvPr>
              <p:cNvSpPr/>
              <p:nvPr/>
            </p:nvSpPr>
            <p:spPr>
              <a:xfrm>
                <a:off x="8059271" y="2555869"/>
                <a:ext cx="3060286" cy="208090"/>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5" name="矩形 14">
                <a:extLst>
                  <a:ext uri="{FF2B5EF4-FFF2-40B4-BE49-F238E27FC236}">
                    <a16:creationId xmlns:a16="http://schemas.microsoft.com/office/drawing/2014/main" id="{1B2A54B2-7CFB-573D-245F-413A6FBE6DE1}"/>
                  </a:ext>
                </a:extLst>
              </p:cNvPr>
              <p:cNvSpPr/>
              <p:nvPr/>
            </p:nvSpPr>
            <p:spPr>
              <a:xfrm>
                <a:off x="8054726" y="1154545"/>
                <a:ext cx="251011" cy="179697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 name="矩形 15">
                <a:extLst>
                  <a:ext uri="{FF2B5EF4-FFF2-40B4-BE49-F238E27FC236}">
                    <a16:creationId xmlns:a16="http://schemas.microsoft.com/office/drawing/2014/main" id="{4616AAD7-2533-CCEA-E6BE-E67D906ECD2D}"/>
                  </a:ext>
                </a:extLst>
              </p:cNvPr>
              <p:cNvSpPr/>
              <p:nvPr/>
            </p:nvSpPr>
            <p:spPr>
              <a:xfrm>
                <a:off x="10873091" y="1143448"/>
                <a:ext cx="251011" cy="179697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sp>
        <p:nvSpPr>
          <p:cNvPr id="4" name="Slide Number Placeholder 3">
            <a:extLst>
              <a:ext uri="{FF2B5EF4-FFF2-40B4-BE49-F238E27FC236}">
                <a16:creationId xmlns:a16="http://schemas.microsoft.com/office/drawing/2014/main" id="{CE6A676F-EF5D-61F6-F2D0-FACEBCAE71A0}"/>
              </a:ext>
            </a:extLst>
          </p:cNvPr>
          <p:cNvSpPr>
            <a:spLocks noGrp="1"/>
          </p:cNvSpPr>
          <p:nvPr>
            <p:ph type="sldNum" sz="quarter" idx="12"/>
          </p:nvPr>
        </p:nvSpPr>
        <p:spPr/>
        <p:txBody>
          <a:bodyPr/>
          <a:lstStyle/>
          <a:p>
            <a:fld id="{51845F5A-061D-4825-9AE9-D7794091C6CF}" type="slidenum">
              <a:rPr lang="en-US" smtClean="0"/>
              <a:t>15</a:t>
            </a:fld>
            <a:endParaRPr lang="en-US"/>
          </a:p>
        </p:txBody>
      </p:sp>
    </p:spTree>
    <p:extLst>
      <p:ext uri="{BB962C8B-B14F-4D97-AF65-F5344CB8AC3E}">
        <p14:creationId xmlns:p14="http://schemas.microsoft.com/office/powerpoint/2010/main" val="1360977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a:extLst>
              <a:ext uri="{FF2B5EF4-FFF2-40B4-BE49-F238E27FC236}">
                <a16:creationId xmlns:a16="http://schemas.microsoft.com/office/drawing/2014/main" id="{BC72BB72-4E03-E69F-D246-52E389DA698A}"/>
              </a:ext>
            </a:extLst>
          </p:cNvPr>
          <p:cNvSpPr>
            <a:spLocks noGrp="1"/>
          </p:cNvSpPr>
          <p:nvPr>
            <p:ph type="sldNum" sz="quarter" idx="12"/>
          </p:nvPr>
        </p:nvSpPr>
        <p:spPr/>
        <p:txBody>
          <a:bodyPr/>
          <a:lstStyle/>
          <a:p>
            <a:fld id="{4C0C40C3-3CCF-4B11-80C9-BCC62D2234EE}" type="slidenum">
              <a:rPr lang="en-US" smtClean="0"/>
              <a:t>16</a:t>
            </a:fld>
            <a:endParaRPr lang="en-US"/>
          </a:p>
        </p:txBody>
      </p:sp>
      <p:pic>
        <p:nvPicPr>
          <p:cNvPr id="7" name="圖片 6">
            <a:extLst>
              <a:ext uri="{FF2B5EF4-FFF2-40B4-BE49-F238E27FC236}">
                <a16:creationId xmlns:a16="http://schemas.microsoft.com/office/drawing/2014/main" id="{F8D023B0-5E3F-C7F6-2495-0ABF25F00782}"/>
              </a:ext>
            </a:extLst>
          </p:cNvPr>
          <p:cNvPicPr>
            <a:picLocks noChangeAspect="1"/>
          </p:cNvPicPr>
          <p:nvPr/>
        </p:nvPicPr>
        <p:blipFill>
          <a:blip r:embed="rId3"/>
          <a:srcRect l="44444" t="23137" r="16912" b="15686"/>
          <a:stretch/>
        </p:blipFill>
        <p:spPr>
          <a:xfrm>
            <a:off x="239287" y="1595710"/>
            <a:ext cx="3418313" cy="3382179"/>
          </a:xfrm>
          <a:prstGeom prst="rect">
            <a:avLst/>
          </a:prstGeom>
        </p:spPr>
      </p:pic>
      <p:pic>
        <p:nvPicPr>
          <p:cNvPr id="9" name="圖片 8">
            <a:extLst>
              <a:ext uri="{FF2B5EF4-FFF2-40B4-BE49-F238E27FC236}">
                <a16:creationId xmlns:a16="http://schemas.microsoft.com/office/drawing/2014/main" id="{99EA88B6-8B4E-0B3F-3E2B-3897544AE16B}"/>
              </a:ext>
            </a:extLst>
          </p:cNvPr>
          <p:cNvPicPr>
            <a:picLocks noChangeAspect="1"/>
          </p:cNvPicPr>
          <p:nvPr/>
        </p:nvPicPr>
        <p:blipFill>
          <a:blip r:embed="rId4"/>
          <a:srcRect l="9640" t="19653" r="9499" b="18251"/>
          <a:stretch/>
        </p:blipFill>
        <p:spPr>
          <a:xfrm>
            <a:off x="3836895" y="1264140"/>
            <a:ext cx="7737659" cy="3713749"/>
          </a:xfrm>
          <a:prstGeom prst="rect">
            <a:avLst/>
          </a:prstGeom>
        </p:spPr>
      </p:pic>
      <p:sp>
        <p:nvSpPr>
          <p:cNvPr id="10" name="矩形 9">
            <a:extLst>
              <a:ext uri="{FF2B5EF4-FFF2-40B4-BE49-F238E27FC236}">
                <a16:creationId xmlns:a16="http://schemas.microsoft.com/office/drawing/2014/main" id="{D3CB5738-5F23-3797-1095-8C7AC618D945}"/>
              </a:ext>
            </a:extLst>
          </p:cNvPr>
          <p:cNvSpPr/>
          <p:nvPr/>
        </p:nvSpPr>
        <p:spPr>
          <a:xfrm>
            <a:off x="3899647" y="2088769"/>
            <a:ext cx="7593106" cy="403411"/>
          </a:xfrm>
          <a:prstGeom prst="rect">
            <a:avLst/>
          </a:prstGeom>
          <a:noFill/>
          <a:ln w="28575">
            <a:solidFill>
              <a:schemeClr val="tx2"/>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zh-TW" altLang="en-US"/>
          </a:p>
        </p:txBody>
      </p:sp>
      <p:grpSp>
        <p:nvGrpSpPr>
          <p:cNvPr id="14" name="群組 13">
            <a:extLst>
              <a:ext uri="{FF2B5EF4-FFF2-40B4-BE49-F238E27FC236}">
                <a16:creationId xmlns:a16="http://schemas.microsoft.com/office/drawing/2014/main" id="{9BDB76FD-0925-DDAC-4B1E-619827958C80}"/>
              </a:ext>
            </a:extLst>
          </p:cNvPr>
          <p:cNvGrpSpPr/>
          <p:nvPr/>
        </p:nvGrpSpPr>
        <p:grpSpPr>
          <a:xfrm>
            <a:off x="0" y="261801"/>
            <a:ext cx="3657600" cy="1425388"/>
            <a:chOff x="0" y="261801"/>
            <a:chExt cx="3657600" cy="1425388"/>
          </a:xfrm>
        </p:grpSpPr>
        <p:pic>
          <p:nvPicPr>
            <p:cNvPr id="5" name="圖片 4">
              <a:extLst>
                <a:ext uri="{FF2B5EF4-FFF2-40B4-BE49-F238E27FC236}">
                  <a16:creationId xmlns:a16="http://schemas.microsoft.com/office/drawing/2014/main" id="{7AF246B1-F98D-4D35-52A5-86DBAB4746E8}"/>
                </a:ext>
              </a:extLst>
            </p:cNvPr>
            <p:cNvPicPr>
              <a:picLocks noChangeAspect="1"/>
            </p:cNvPicPr>
            <p:nvPr/>
          </p:nvPicPr>
          <p:blipFill>
            <a:blip r:embed="rId3"/>
            <a:srcRect l="5065" t="18170" r="61601" b="61046"/>
            <a:stretch/>
          </p:blipFill>
          <p:spPr>
            <a:xfrm>
              <a:off x="0" y="261801"/>
              <a:ext cx="3657600" cy="1425388"/>
            </a:xfrm>
            <a:prstGeom prst="rect">
              <a:avLst/>
            </a:prstGeom>
          </p:spPr>
        </p:pic>
        <p:sp>
          <p:nvSpPr>
            <p:cNvPr id="13" name="矩形 12">
              <a:extLst>
                <a:ext uri="{FF2B5EF4-FFF2-40B4-BE49-F238E27FC236}">
                  <a16:creationId xmlns:a16="http://schemas.microsoft.com/office/drawing/2014/main" id="{1ED06B4B-9FFC-DEC8-D2D5-DC51F807B4FD}"/>
                </a:ext>
              </a:extLst>
            </p:cNvPr>
            <p:cNvSpPr/>
            <p:nvPr/>
          </p:nvSpPr>
          <p:spPr>
            <a:xfrm>
              <a:off x="573742" y="1290918"/>
              <a:ext cx="2321859" cy="3962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4" name="圖片 3">
            <a:extLst>
              <a:ext uri="{FF2B5EF4-FFF2-40B4-BE49-F238E27FC236}">
                <a16:creationId xmlns:a16="http://schemas.microsoft.com/office/drawing/2014/main" id="{B0EA33DC-27ED-E0B3-398A-29A03D06C27E}"/>
              </a:ext>
            </a:extLst>
          </p:cNvPr>
          <p:cNvPicPr>
            <a:picLocks noChangeAspect="1"/>
          </p:cNvPicPr>
          <p:nvPr/>
        </p:nvPicPr>
        <p:blipFill>
          <a:blip r:embed="rId4"/>
          <a:srcRect l="9640" t="33891" r="9499" b="59364"/>
          <a:stretch/>
        </p:blipFill>
        <p:spPr>
          <a:xfrm>
            <a:off x="190169" y="5311208"/>
            <a:ext cx="11294737" cy="588863"/>
          </a:xfrm>
          <a:prstGeom prst="rect">
            <a:avLst/>
          </a:prstGeom>
        </p:spPr>
      </p:pic>
    </p:spTree>
    <p:extLst>
      <p:ext uri="{BB962C8B-B14F-4D97-AF65-F5344CB8AC3E}">
        <p14:creationId xmlns:p14="http://schemas.microsoft.com/office/powerpoint/2010/main" val="33769117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a:extLst>
              <a:ext uri="{FF2B5EF4-FFF2-40B4-BE49-F238E27FC236}">
                <a16:creationId xmlns:a16="http://schemas.microsoft.com/office/drawing/2014/main" id="{E41DB098-9FF2-0150-AA01-4774AC7FD1D9}"/>
              </a:ext>
            </a:extLst>
          </p:cNvPr>
          <p:cNvSpPr>
            <a:spLocks noGrp="1"/>
          </p:cNvSpPr>
          <p:nvPr>
            <p:ph type="sldNum" sz="quarter" idx="12"/>
          </p:nvPr>
        </p:nvSpPr>
        <p:spPr/>
        <p:txBody>
          <a:bodyPr/>
          <a:lstStyle/>
          <a:p>
            <a:fld id="{4C0C40C3-3CCF-4B11-80C9-BCC62D2234EE}" type="slidenum">
              <a:rPr lang="en-US" smtClean="0"/>
              <a:t>17</a:t>
            </a:fld>
            <a:endParaRPr lang="en-US"/>
          </a:p>
        </p:txBody>
      </p:sp>
      <p:pic>
        <p:nvPicPr>
          <p:cNvPr id="5" name="圖片 4">
            <a:extLst>
              <a:ext uri="{FF2B5EF4-FFF2-40B4-BE49-F238E27FC236}">
                <a16:creationId xmlns:a16="http://schemas.microsoft.com/office/drawing/2014/main" id="{F2DBC3FA-47F2-E894-1373-505B6526A047}"/>
              </a:ext>
            </a:extLst>
          </p:cNvPr>
          <p:cNvPicPr>
            <a:picLocks noChangeAspect="1"/>
          </p:cNvPicPr>
          <p:nvPr/>
        </p:nvPicPr>
        <p:blipFill>
          <a:blip r:embed="rId3"/>
          <a:srcRect l="36088" t="56513" r="7685" b="13482"/>
          <a:stretch/>
        </p:blipFill>
        <p:spPr>
          <a:xfrm>
            <a:off x="384805" y="1366168"/>
            <a:ext cx="11030581" cy="3679029"/>
          </a:xfrm>
          <a:prstGeom prst="rect">
            <a:avLst/>
          </a:prstGeom>
        </p:spPr>
      </p:pic>
      <p:sp>
        <p:nvSpPr>
          <p:cNvPr id="6" name="文字方塊 5">
            <a:extLst>
              <a:ext uri="{FF2B5EF4-FFF2-40B4-BE49-F238E27FC236}">
                <a16:creationId xmlns:a16="http://schemas.microsoft.com/office/drawing/2014/main" id="{92B2DFA2-0CA2-1243-4B6A-9740184D2476}"/>
              </a:ext>
            </a:extLst>
          </p:cNvPr>
          <p:cNvSpPr txBox="1"/>
          <p:nvPr/>
        </p:nvSpPr>
        <p:spPr>
          <a:xfrm>
            <a:off x="562454" y="4946314"/>
            <a:ext cx="3471665" cy="1354217"/>
          </a:xfrm>
          <a:prstGeom prst="rect">
            <a:avLst/>
          </a:prstGeom>
          <a:noFill/>
          <a:ln>
            <a:solidFill>
              <a:srgbClr val="FFC000"/>
            </a:solidFill>
          </a:ln>
        </p:spPr>
        <p:txBody>
          <a:bodyPr wrap="square" rtlCol="0">
            <a:spAutoFit/>
          </a:bodyPr>
          <a:lstStyle/>
          <a:p>
            <a:pPr algn="ctr"/>
            <a:r>
              <a:rPr lang="zh-TW" altLang="en-US" sz="1600" b="1">
                <a:latin typeface="Microsoft JhengHei Light" panose="020B0304030504040204" pitchFamily="34" charset="-120"/>
                <a:ea typeface="Microsoft JhengHei Light" panose="020B0304030504040204" pitchFamily="34" charset="-120"/>
              </a:rPr>
              <a:t>上游 </a:t>
            </a:r>
            <a:r>
              <a:rPr lang="en-US" altLang="zh-TW" sz="1600" b="1">
                <a:latin typeface="Microsoft JhengHei Light" panose="020B0304030504040204" pitchFamily="34" charset="-120"/>
                <a:ea typeface="Microsoft JhengHei Light" panose="020B0304030504040204" pitchFamily="34" charset="-120"/>
              </a:rPr>
              <a:t>: </a:t>
            </a:r>
          </a:p>
          <a:p>
            <a:pPr algn="ctr"/>
            <a:r>
              <a:rPr lang="zh-TW" altLang="en-US" sz="1600">
                <a:latin typeface="Microsoft JhengHei Light" panose="020B0304030504040204" pitchFamily="34" charset="-120"/>
                <a:ea typeface="Microsoft JhengHei Light" panose="020B0304030504040204" pitchFamily="34" charset="-120"/>
              </a:rPr>
              <a:t>供應商審查</a:t>
            </a:r>
            <a:endParaRPr lang="en-US" altLang="zh-TW" sz="1600">
              <a:latin typeface="Microsoft JhengHei Light" panose="020B0304030504040204" pitchFamily="34" charset="-120"/>
              <a:ea typeface="Microsoft JhengHei Light" panose="020B0304030504040204" pitchFamily="34" charset="-120"/>
            </a:endParaRPr>
          </a:p>
          <a:p>
            <a:pPr algn="ctr"/>
            <a:r>
              <a:rPr lang="zh-TW" altLang="en-US" sz="1600">
                <a:latin typeface="Microsoft JhengHei Light" panose="020B0304030504040204" pitchFamily="34" charset="-120"/>
                <a:ea typeface="Microsoft JhengHei Light" panose="020B0304030504040204" pitchFamily="34" charset="-120"/>
              </a:rPr>
              <a:t>定期稽核評估</a:t>
            </a:r>
            <a:endParaRPr lang="en-US" altLang="zh-TW" sz="1600">
              <a:latin typeface="Microsoft JhengHei Light" panose="020B0304030504040204" pitchFamily="34" charset="-120"/>
              <a:ea typeface="Microsoft JhengHei Light" panose="020B0304030504040204" pitchFamily="34" charset="-120"/>
            </a:endParaRPr>
          </a:p>
          <a:p>
            <a:pPr algn="ctr"/>
            <a:r>
              <a:rPr lang="zh-TW" altLang="en-US" sz="1600">
                <a:latin typeface="Microsoft JhengHei Light" panose="020B0304030504040204" pitchFamily="34" charset="-120"/>
                <a:ea typeface="Microsoft JhengHei Light" panose="020B0304030504040204" pitchFamily="34" charset="-120"/>
              </a:rPr>
              <a:t>建立穩定合作</a:t>
            </a:r>
            <a:endParaRPr lang="en-US" altLang="zh-TW" sz="1600">
              <a:latin typeface="Microsoft JhengHei Light" panose="020B0304030504040204" pitchFamily="34" charset="-120"/>
              <a:ea typeface="Microsoft JhengHei Light" panose="020B0304030504040204" pitchFamily="34" charset="-120"/>
            </a:endParaRPr>
          </a:p>
          <a:p>
            <a:pPr algn="ctr"/>
            <a:r>
              <a:rPr lang="zh-TW" altLang="en-US" sz="1600">
                <a:latin typeface="Microsoft JhengHei Light" panose="020B0304030504040204" pitchFamily="34" charset="-120"/>
                <a:ea typeface="Microsoft JhengHei Light" panose="020B0304030504040204" pitchFamily="34" charset="-120"/>
              </a:rPr>
              <a:t>保持順暢溝通</a:t>
            </a:r>
          </a:p>
        </p:txBody>
      </p:sp>
      <p:sp>
        <p:nvSpPr>
          <p:cNvPr id="7" name="文字方塊 6">
            <a:extLst>
              <a:ext uri="{FF2B5EF4-FFF2-40B4-BE49-F238E27FC236}">
                <a16:creationId xmlns:a16="http://schemas.microsoft.com/office/drawing/2014/main" id="{85C4E1FC-7306-688E-1661-DF6B173BCFFE}"/>
              </a:ext>
            </a:extLst>
          </p:cNvPr>
          <p:cNvSpPr txBox="1"/>
          <p:nvPr/>
        </p:nvSpPr>
        <p:spPr>
          <a:xfrm>
            <a:off x="6717883" y="4946314"/>
            <a:ext cx="4132730" cy="1354217"/>
          </a:xfrm>
          <a:prstGeom prst="rect">
            <a:avLst/>
          </a:prstGeom>
          <a:noFill/>
          <a:ln>
            <a:solidFill>
              <a:srgbClr val="FFC000"/>
            </a:solidFill>
          </a:ln>
        </p:spPr>
        <p:txBody>
          <a:bodyPr wrap="square" rtlCol="0">
            <a:spAutoFit/>
          </a:bodyPr>
          <a:lstStyle/>
          <a:p>
            <a:pPr algn="ctr"/>
            <a:r>
              <a:rPr lang="zh-TW" altLang="en-US" sz="1600" b="1">
                <a:latin typeface="Microsoft JhengHei Light" panose="020B0304030504040204" pitchFamily="34" charset="-120"/>
                <a:ea typeface="Microsoft JhengHei Light" panose="020B0304030504040204" pitchFamily="34" charset="-120"/>
              </a:rPr>
              <a:t>下游 </a:t>
            </a:r>
            <a:r>
              <a:rPr lang="en-US" altLang="zh-TW" sz="1600" b="1">
                <a:latin typeface="Microsoft JhengHei Light" panose="020B0304030504040204" pitchFamily="34" charset="-120"/>
                <a:ea typeface="Microsoft JhengHei Light" panose="020B0304030504040204" pitchFamily="34" charset="-120"/>
              </a:rPr>
              <a:t>: </a:t>
            </a:r>
          </a:p>
          <a:p>
            <a:pPr algn="ctr"/>
            <a:r>
              <a:rPr lang="zh-TW" altLang="en-US" sz="1600">
                <a:latin typeface="Microsoft JhengHei Light" panose="020B0304030504040204" pitchFamily="34" charset="-120"/>
                <a:ea typeface="Microsoft JhengHei Light" panose="020B0304030504040204" pitchFamily="34" charset="-120"/>
              </a:rPr>
              <a:t>多元銷售通路</a:t>
            </a:r>
            <a:endParaRPr lang="en-US" altLang="zh-TW" sz="1600">
              <a:latin typeface="Microsoft JhengHei Light" panose="020B0304030504040204" pitchFamily="34" charset="-120"/>
              <a:ea typeface="Microsoft JhengHei Light" panose="020B0304030504040204" pitchFamily="34" charset="-120"/>
            </a:endParaRPr>
          </a:p>
          <a:p>
            <a:pPr marL="285750" indent="-285750" algn="ctr">
              <a:buFont typeface="Arial" panose="020B0604020202020204" pitchFamily="34" charset="0"/>
              <a:buChar char="•"/>
            </a:pPr>
            <a:r>
              <a:rPr lang="zh-TW" altLang="en-US" sz="1600">
                <a:latin typeface="Microsoft JhengHei Light" panose="020B0304030504040204" pitchFamily="34" charset="-120"/>
                <a:ea typeface="Microsoft JhengHei Light" panose="020B0304030504040204" pitchFamily="34" charset="-120"/>
              </a:rPr>
              <a:t>自行銷售</a:t>
            </a:r>
            <a:endParaRPr lang="en-US" altLang="zh-TW" sz="1600">
              <a:latin typeface="Microsoft JhengHei Light" panose="020B0304030504040204" pitchFamily="34" charset="-120"/>
              <a:ea typeface="Microsoft JhengHei Light" panose="020B0304030504040204" pitchFamily="34" charset="-120"/>
            </a:endParaRPr>
          </a:p>
          <a:p>
            <a:pPr marL="285750" indent="-285750" algn="ctr">
              <a:buFont typeface="Arial" panose="020B0604020202020204" pitchFamily="34" charset="0"/>
              <a:buChar char="•"/>
            </a:pPr>
            <a:r>
              <a:rPr lang="zh-TW" altLang="en-US" sz="1600">
                <a:latin typeface="Microsoft JhengHei Light" panose="020B0304030504040204" pitchFamily="34" charset="-120"/>
                <a:ea typeface="Microsoft JhengHei Light" panose="020B0304030504040204" pitchFamily="34" charset="-120"/>
              </a:rPr>
              <a:t>策略合作夥伴</a:t>
            </a:r>
            <a:endParaRPr lang="en-US" altLang="zh-TW" sz="1600">
              <a:latin typeface="Microsoft JhengHei Light" panose="020B0304030504040204" pitchFamily="34" charset="-120"/>
              <a:ea typeface="Microsoft JhengHei Light" panose="020B0304030504040204" pitchFamily="34" charset="-120"/>
            </a:endParaRPr>
          </a:p>
          <a:p>
            <a:pPr marL="285750" indent="-285750" algn="ctr">
              <a:buFont typeface="Arial" panose="020B0604020202020204" pitchFamily="34" charset="0"/>
              <a:buChar char="•"/>
            </a:pPr>
            <a:r>
              <a:rPr lang="zh-TW" altLang="en-US" sz="1600">
                <a:latin typeface="Microsoft JhengHei Light" panose="020B0304030504040204" pitchFamily="34" charset="-120"/>
                <a:ea typeface="Microsoft JhengHei Light" panose="020B0304030504040204" pitchFamily="34" charset="-120"/>
              </a:rPr>
              <a:t>向外授權</a:t>
            </a:r>
            <a:endParaRPr lang="en-US" altLang="zh-TW" sz="1600">
              <a:latin typeface="Microsoft JhengHei Light" panose="020B0304030504040204" pitchFamily="34" charset="-120"/>
              <a:ea typeface="Microsoft JhengHei Light" panose="020B0304030504040204" pitchFamily="34" charset="-120"/>
            </a:endParaRPr>
          </a:p>
        </p:txBody>
      </p:sp>
      <p:sp>
        <p:nvSpPr>
          <p:cNvPr id="4" name="箭號: 有線條的向右箭號 3">
            <a:extLst>
              <a:ext uri="{FF2B5EF4-FFF2-40B4-BE49-F238E27FC236}">
                <a16:creationId xmlns:a16="http://schemas.microsoft.com/office/drawing/2014/main" id="{CFD8BC68-B50D-8B9C-8B4A-043113A285EC}"/>
              </a:ext>
            </a:extLst>
          </p:cNvPr>
          <p:cNvSpPr/>
          <p:nvPr/>
        </p:nvSpPr>
        <p:spPr>
          <a:xfrm rot="17646558">
            <a:off x="3683796" y="4792282"/>
            <a:ext cx="700645" cy="726141"/>
          </a:xfrm>
          <a:prstGeom prst="stripedRightArrow">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箭號: 有線條的向右箭號 7">
            <a:extLst>
              <a:ext uri="{FF2B5EF4-FFF2-40B4-BE49-F238E27FC236}">
                <a16:creationId xmlns:a16="http://schemas.microsoft.com/office/drawing/2014/main" id="{8DFDBC69-80FA-9299-7AE5-4FB189B68CFD}"/>
              </a:ext>
            </a:extLst>
          </p:cNvPr>
          <p:cNvSpPr/>
          <p:nvPr/>
        </p:nvSpPr>
        <p:spPr>
          <a:xfrm rot="1493607">
            <a:off x="6293648" y="4783551"/>
            <a:ext cx="700645" cy="726141"/>
          </a:xfrm>
          <a:prstGeom prst="stripedRightArrow">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9" name="標題 1">
            <a:extLst>
              <a:ext uri="{FF2B5EF4-FFF2-40B4-BE49-F238E27FC236}">
                <a16:creationId xmlns:a16="http://schemas.microsoft.com/office/drawing/2014/main" id="{236ED95D-BDF8-A4FD-7EA5-023E6B9C522D}"/>
              </a:ext>
            </a:extLst>
          </p:cNvPr>
          <p:cNvSpPr>
            <a:spLocks noGrp="1"/>
          </p:cNvSpPr>
          <p:nvPr>
            <p:ph type="title"/>
          </p:nvPr>
        </p:nvSpPr>
        <p:spPr>
          <a:xfrm>
            <a:off x="562454" y="607892"/>
            <a:ext cx="9504181" cy="360099"/>
          </a:xfrm>
        </p:spPr>
        <p:txBody>
          <a:bodyPr>
            <a:normAutofit/>
          </a:bodyPr>
          <a:lstStyle/>
          <a:p>
            <a:r>
              <a:rPr lang="zh-TW" altLang="en-US" sz="2600">
                <a:latin typeface="+mn-ea"/>
                <a:ea typeface="+mn-ea"/>
              </a:rPr>
              <a:t>美時價值鏈</a:t>
            </a:r>
          </a:p>
        </p:txBody>
      </p:sp>
    </p:spTree>
    <p:extLst>
      <p:ext uri="{BB962C8B-B14F-4D97-AF65-F5344CB8AC3E}">
        <p14:creationId xmlns:p14="http://schemas.microsoft.com/office/powerpoint/2010/main" val="8962621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343F033-9FE8-B3EA-FD41-DC6FFAC2FFE6}"/>
              </a:ext>
            </a:extLst>
          </p:cNvPr>
          <p:cNvPicPr>
            <a:picLocks noChangeAspect="1"/>
          </p:cNvPicPr>
          <p:nvPr/>
        </p:nvPicPr>
        <p:blipFill>
          <a:blip r:embed="rId3">
            <a:alphaModFix amt="44000"/>
            <a:extLst>
              <a:ext uri="{BEBA8EAE-BF5A-486C-A8C5-ECC9F3942E4B}">
                <a14:imgProps xmlns:a14="http://schemas.microsoft.com/office/drawing/2010/main">
                  <a14:imgLayer r:embed="rId4">
                    <a14:imgEffect>
                      <a14:sharpenSoften amount="9000"/>
                    </a14:imgEffect>
                    <a14:imgEffect>
                      <a14:brightnessContrast bright="29000" contrast="-20000"/>
                    </a14:imgEffect>
                  </a14:imgLayer>
                </a14:imgProps>
              </a:ext>
            </a:extLst>
          </a:blip>
          <a:stretch>
            <a:fillRect/>
          </a:stretch>
        </p:blipFill>
        <p:spPr>
          <a:xfrm>
            <a:off x="0" y="-2884"/>
            <a:ext cx="12192000" cy="7585939"/>
          </a:xfrm>
          <a:prstGeom prst="rect">
            <a:avLst/>
          </a:prstGeom>
        </p:spPr>
      </p:pic>
      <p:graphicFrame>
        <p:nvGraphicFramePr>
          <p:cNvPr id="9" name="Diagram 8">
            <a:extLst>
              <a:ext uri="{FF2B5EF4-FFF2-40B4-BE49-F238E27FC236}">
                <a16:creationId xmlns:a16="http://schemas.microsoft.com/office/drawing/2014/main" id="{98FFE9FC-6F30-87DA-2B29-F1B1424B465A}"/>
              </a:ext>
            </a:extLst>
          </p:cNvPr>
          <p:cNvGraphicFramePr/>
          <p:nvPr>
            <p:extLst>
              <p:ext uri="{D42A27DB-BD31-4B8C-83A1-F6EECF244321}">
                <p14:modId xmlns:p14="http://schemas.microsoft.com/office/powerpoint/2010/main" val="281591949"/>
              </p:ext>
            </p:extLst>
          </p:nvPr>
        </p:nvGraphicFramePr>
        <p:xfrm>
          <a:off x="518866" y="1617358"/>
          <a:ext cx="11277601" cy="430387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標題 1">
            <a:extLst>
              <a:ext uri="{FF2B5EF4-FFF2-40B4-BE49-F238E27FC236}">
                <a16:creationId xmlns:a16="http://schemas.microsoft.com/office/drawing/2014/main" id="{E250A744-15C2-5BCD-2AF3-19E1D24DB081}"/>
              </a:ext>
            </a:extLst>
          </p:cNvPr>
          <p:cNvSpPr>
            <a:spLocks noGrp="1"/>
          </p:cNvSpPr>
          <p:nvPr>
            <p:ph type="title"/>
          </p:nvPr>
        </p:nvSpPr>
        <p:spPr>
          <a:xfrm>
            <a:off x="779132" y="312254"/>
            <a:ext cx="9504181" cy="360099"/>
          </a:xfrm>
        </p:spPr>
        <p:txBody>
          <a:bodyPr/>
          <a:lstStyle/>
          <a:p>
            <a:r>
              <a:rPr lang="zh-TW" altLang="en-US">
                <a:latin typeface="+mn-ea"/>
                <a:ea typeface="+mn-ea"/>
              </a:rPr>
              <a:t>透過供應商參與連結上下游</a:t>
            </a:r>
          </a:p>
        </p:txBody>
      </p:sp>
      <p:sp>
        <p:nvSpPr>
          <p:cNvPr id="3" name="投影片編號版面配置區 2">
            <a:extLst>
              <a:ext uri="{FF2B5EF4-FFF2-40B4-BE49-F238E27FC236}">
                <a16:creationId xmlns:a16="http://schemas.microsoft.com/office/drawing/2014/main" id="{C35DCE94-0225-E4B6-3543-5CF99D3BD273}"/>
              </a:ext>
            </a:extLst>
          </p:cNvPr>
          <p:cNvSpPr>
            <a:spLocks noGrp="1"/>
          </p:cNvSpPr>
          <p:nvPr>
            <p:ph type="sldNum" sz="quarter" idx="12"/>
          </p:nvPr>
        </p:nvSpPr>
        <p:spPr/>
        <p:txBody>
          <a:bodyPr/>
          <a:lstStyle/>
          <a:p>
            <a:fld id="{4C0C40C3-3CCF-4B11-80C9-BCC62D2234EE}" type="slidenum">
              <a:rPr lang="en-US" smtClean="0"/>
              <a:t>18</a:t>
            </a:fld>
            <a:endParaRPr lang="en-US"/>
          </a:p>
        </p:txBody>
      </p:sp>
      <p:sp>
        <p:nvSpPr>
          <p:cNvPr id="4" name="TextBox 3">
            <a:extLst>
              <a:ext uri="{FF2B5EF4-FFF2-40B4-BE49-F238E27FC236}">
                <a16:creationId xmlns:a16="http://schemas.microsoft.com/office/drawing/2014/main" id="{C298B3DB-E101-18A9-66F7-CAF9198FB8A3}"/>
              </a:ext>
            </a:extLst>
          </p:cNvPr>
          <p:cNvSpPr txBox="1"/>
          <p:nvPr/>
        </p:nvSpPr>
        <p:spPr>
          <a:xfrm>
            <a:off x="644662" y="5677727"/>
            <a:ext cx="7696998" cy="646331"/>
          </a:xfrm>
          <a:prstGeom prst="rect">
            <a:avLst/>
          </a:prstGeom>
          <a:solidFill>
            <a:srgbClr val="FFC000"/>
          </a:solidFill>
        </p:spPr>
        <p:txBody>
          <a:bodyPr wrap="square" rtlCol="0">
            <a:spAutoFit/>
          </a:bodyPr>
          <a:lstStyle>
            <a:defPPr>
              <a:defRPr lang="en-US"/>
            </a:defPPr>
            <a:lvl1pPr algn="ctr">
              <a:defRPr/>
            </a:lvl1pPr>
          </a:lstStyle>
          <a:p>
            <a:r>
              <a:rPr lang="en-US" altLang="zh-TW"/>
              <a:t>We will reach out to you for supply chain E2E ESG engagement</a:t>
            </a:r>
          </a:p>
          <a:p>
            <a:r>
              <a:rPr lang="zh-TW" altLang="en-US"/>
              <a:t>邀請您參與供應鏈端對端</a:t>
            </a:r>
            <a:r>
              <a:rPr lang="en-US" altLang="zh-TW"/>
              <a:t>ESG</a:t>
            </a:r>
            <a:endParaRPr lang="zh-TW" altLang="en-US"/>
          </a:p>
        </p:txBody>
      </p:sp>
      <p:graphicFrame>
        <p:nvGraphicFramePr>
          <p:cNvPr id="13" name="Diagram 12">
            <a:extLst>
              <a:ext uri="{FF2B5EF4-FFF2-40B4-BE49-F238E27FC236}">
                <a16:creationId xmlns:a16="http://schemas.microsoft.com/office/drawing/2014/main" id="{C6CC6BA8-D1C4-E7AC-5911-5669A26DC11A}"/>
              </a:ext>
            </a:extLst>
          </p:cNvPr>
          <p:cNvGraphicFramePr/>
          <p:nvPr/>
        </p:nvGraphicFramePr>
        <p:xfrm>
          <a:off x="644662" y="1649506"/>
          <a:ext cx="2466092" cy="895076"/>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14" name="Diagram 13">
            <a:extLst>
              <a:ext uri="{FF2B5EF4-FFF2-40B4-BE49-F238E27FC236}">
                <a16:creationId xmlns:a16="http://schemas.microsoft.com/office/drawing/2014/main" id="{CAA97683-7BCF-66BB-9D23-2BD3228F954F}"/>
              </a:ext>
            </a:extLst>
          </p:cNvPr>
          <p:cNvGraphicFramePr/>
          <p:nvPr/>
        </p:nvGraphicFramePr>
        <p:xfrm>
          <a:off x="9528142" y="4866827"/>
          <a:ext cx="2466092" cy="895076"/>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5" name="箭號: 有線條的向右箭號 4">
            <a:extLst>
              <a:ext uri="{FF2B5EF4-FFF2-40B4-BE49-F238E27FC236}">
                <a16:creationId xmlns:a16="http://schemas.microsoft.com/office/drawing/2014/main" id="{D236874F-7AF1-20E7-1C6D-3D64BA68021A}"/>
              </a:ext>
            </a:extLst>
          </p:cNvPr>
          <p:cNvSpPr/>
          <p:nvPr/>
        </p:nvSpPr>
        <p:spPr>
          <a:xfrm rot="5400000">
            <a:off x="1460003" y="2531834"/>
            <a:ext cx="700645" cy="726141"/>
          </a:xfrm>
          <a:prstGeom prst="stripedRightArrow">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 name="箭號: 有線條的向右箭號 5">
            <a:extLst>
              <a:ext uri="{FF2B5EF4-FFF2-40B4-BE49-F238E27FC236}">
                <a16:creationId xmlns:a16="http://schemas.microsoft.com/office/drawing/2014/main" id="{AEC716F6-3957-E210-98C2-54E9A1FB6212}"/>
              </a:ext>
            </a:extLst>
          </p:cNvPr>
          <p:cNvSpPr/>
          <p:nvPr/>
        </p:nvSpPr>
        <p:spPr>
          <a:xfrm rot="5400000">
            <a:off x="10410865" y="4185104"/>
            <a:ext cx="700645" cy="726141"/>
          </a:xfrm>
          <a:prstGeom prst="stripedRightArrow">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40753599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內容版面配置區 3">
            <a:extLst>
              <a:ext uri="{FF2B5EF4-FFF2-40B4-BE49-F238E27FC236}">
                <a16:creationId xmlns:a16="http://schemas.microsoft.com/office/drawing/2014/main" id="{8D0FE662-DF36-D867-4D5B-9CAB0AFD4BB5}"/>
              </a:ext>
            </a:extLst>
          </p:cNvPr>
          <p:cNvGraphicFramePr>
            <a:graphicFrameLocks noGrp="1"/>
          </p:cNvGraphicFramePr>
          <p:nvPr>
            <p:ph idx="1"/>
            <p:extLst>
              <p:ext uri="{D42A27DB-BD31-4B8C-83A1-F6EECF244321}">
                <p14:modId xmlns:p14="http://schemas.microsoft.com/office/powerpoint/2010/main" val="724040482"/>
              </p:ext>
            </p:extLst>
          </p:nvPr>
        </p:nvGraphicFramePr>
        <p:xfrm>
          <a:off x="381001" y="2008094"/>
          <a:ext cx="3608294" cy="3339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投影片編號版面配置區 2">
            <a:extLst>
              <a:ext uri="{FF2B5EF4-FFF2-40B4-BE49-F238E27FC236}">
                <a16:creationId xmlns:a16="http://schemas.microsoft.com/office/drawing/2014/main" id="{8E7D515C-C580-7B9B-171D-F0856352FBB2}"/>
              </a:ext>
            </a:extLst>
          </p:cNvPr>
          <p:cNvSpPr>
            <a:spLocks noGrp="1"/>
          </p:cNvSpPr>
          <p:nvPr>
            <p:ph type="sldNum" sz="quarter" idx="12"/>
          </p:nvPr>
        </p:nvSpPr>
        <p:spPr/>
        <p:txBody>
          <a:bodyPr/>
          <a:lstStyle/>
          <a:p>
            <a:fld id="{4C0C40C3-3CCF-4B11-80C9-BCC62D2234EE}" type="slidenum">
              <a:rPr lang="en-US" smtClean="0"/>
              <a:t>19</a:t>
            </a:fld>
            <a:endParaRPr lang="en-US"/>
          </a:p>
        </p:txBody>
      </p:sp>
      <p:sp>
        <p:nvSpPr>
          <p:cNvPr id="2" name="標題 1">
            <a:extLst>
              <a:ext uri="{FF2B5EF4-FFF2-40B4-BE49-F238E27FC236}">
                <a16:creationId xmlns:a16="http://schemas.microsoft.com/office/drawing/2014/main" id="{39F453F4-A7B1-1615-CDF0-6B2F698E3DF5}"/>
              </a:ext>
            </a:extLst>
          </p:cNvPr>
          <p:cNvSpPr>
            <a:spLocks noGrp="1"/>
          </p:cNvSpPr>
          <p:nvPr>
            <p:ph type="title"/>
          </p:nvPr>
        </p:nvSpPr>
        <p:spPr>
          <a:xfrm>
            <a:off x="241250" y="390391"/>
            <a:ext cx="9504181" cy="360099"/>
          </a:xfrm>
        </p:spPr>
        <p:txBody>
          <a:bodyPr>
            <a:noAutofit/>
          </a:bodyPr>
          <a:lstStyle/>
          <a:p>
            <a:r>
              <a:rPr lang="zh-TW" altLang="en-US" sz="2600">
                <a:latin typeface="+mn-ea"/>
                <a:ea typeface="+mn-ea"/>
              </a:rPr>
              <a:t>供應商管理計畫</a:t>
            </a:r>
          </a:p>
        </p:txBody>
      </p:sp>
      <p:pic>
        <p:nvPicPr>
          <p:cNvPr id="8" name="圖片 7">
            <a:extLst>
              <a:ext uri="{FF2B5EF4-FFF2-40B4-BE49-F238E27FC236}">
                <a16:creationId xmlns:a16="http://schemas.microsoft.com/office/drawing/2014/main" id="{5F37E547-6207-EF9A-9193-0BC0E94E0B1B}"/>
              </a:ext>
            </a:extLst>
          </p:cNvPr>
          <p:cNvPicPr>
            <a:picLocks noChangeAspect="1"/>
          </p:cNvPicPr>
          <p:nvPr/>
        </p:nvPicPr>
        <p:blipFill>
          <a:blip r:embed="rId8"/>
          <a:srcRect l="53862" t="26883" r="5474" b="15597"/>
          <a:stretch/>
        </p:blipFill>
        <p:spPr>
          <a:xfrm>
            <a:off x="3948878" y="1278573"/>
            <a:ext cx="6311153" cy="5579427"/>
          </a:xfrm>
          <a:prstGeom prst="rect">
            <a:avLst/>
          </a:prstGeom>
        </p:spPr>
      </p:pic>
    </p:spTree>
    <p:extLst>
      <p:ext uri="{BB962C8B-B14F-4D97-AF65-F5344CB8AC3E}">
        <p14:creationId xmlns:p14="http://schemas.microsoft.com/office/powerpoint/2010/main" val="38042377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E1A8335-917F-4F2C-CE73-130D8D7BC229}"/>
              </a:ext>
            </a:extLst>
          </p:cNvPr>
          <p:cNvSpPr>
            <a:spLocks noGrp="1"/>
          </p:cNvSpPr>
          <p:nvPr>
            <p:ph type="title"/>
          </p:nvPr>
        </p:nvSpPr>
        <p:spPr>
          <a:xfrm>
            <a:off x="598311" y="794446"/>
            <a:ext cx="9504181" cy="360099"/>
          </a:xfrm>
        </p:spPr>
        <p:txBody>
          <a:bodyPr>
            <a:normAutofit fontScale="90000"/>
          </a:bodyPr>
          <a:lstStyle/>
          <a:p>
            <a:r>
              <a:rPr lang="en-US"/>
              <a:t>Meeting Rules</a:t>
            </a:r>
          </a:p>
        </p:txBody>
      </p:sp>
      <p:sp>
        <p:nvSpPr>
          <p:cNvPr id="8" name="Content Placeholder 2">
            <a:extLst>
              <a:ext uri="{FF2B5EF4-FFF2-40B4-BE49-F238E27FC236}">
                <a16:creationId xmlns:a16="http://schemas.microsoft.com/office/drawing/2014/main" id="{0CC0BC93-FAE7-3F66-DB1F-AB053AE3CBA5}"/>
              </a:ext>
            </a:extLst>
          </p:cNvPr>
          <p:cNvSpPr>
            <a:spLocks noGrp="1"/>
          </p:cNvSpPr>
          <p:nvPr>
            <p:ph idx="1"/>
          </p:nvPr>
        </p:nvSpPr>
        <p:spPr>
          <a:xfrm>
            <a:off x="945775" y="2572870"/>
            <a:ext cx="6535272" cy="2671482"/>
          </a:xfrm>
        </p:spPr>
        <p:txBody>
          <a:bodyPr vert="horz" lIns="91440" tIns="45720" rIns="91440" bIns="45720" rtlCol="0" anchor="t">
            <a:normAutofit/>
          </a:bodyPr>
          <a:lstStyle/>
          <a:p>
            <a:pPr>
              <a:buFont typeface="Wingdings"/>
              <a:buChar char="§"/>
            </a:pPr>
            <a:r>
              <a:rPr lang="zh-TW" altLang="en-US" sz="2800">
                <a:solidFill>
                  <a:srgbClr val="111111"/>
                </a:solidFill>
                <a:latin typeface="-apple-system"/>
              </a:rPr>
              <a:t>會議時間：</a:t>
            </a:r>
            <a:r>
              <a:rPr lang="en-US" altLang="zh-TW" sz="2800">
                <a:solidFill>
                  <a:srgbClr val="111111"/>
                </a:solidFill>
                <a:latin typeface="-apple-system"/>
              </a:rPr>
              <a:t>15:00 ~17:00 </a:t>
            </a:r>
          </a:p>
          <a:p>
            <a:pPr>
              <a:buFont typeface="Wingdings"/>
              <a:buChar char="§"/>
            </a:pPr>
            <a:r>
              <a:rPr lang="zh-TW" altLang="en-US" sz="2800">
                <a:solidFill>
                  <a:srgbClr val="111111"/>
                </a:solidFill>
                <a:latin typeface="-apple-system"/>
              </a:rPr>
              <a:t>請將問題留到最後</a:t>
            </a:r>
            <a:endParaRPr lang="en-US" altLang="zh-TW" sz="2800">
              <a:solidFill>
                <a:srgbClr val="111111"/>
              </a:solidFill>
              <a:latin typeface="-apple-system"/>
            </a:endParaRPr>
          </a:p>
          <a:p>
            <a:pPr>
              <a:buFont typeface="Wingdings"/>
              <a:buChar char="§"/>
            </a:pPr>
            <a:r>
              <a:rPr lang="zh-TW" altLang="en-US" sz="2800">
                <a:solidFill>
                  <a:srgbClr val="111111"/>
                </a:solidFill>
                <a:latin typeface="-apple-system"/>
              </a:rPr>
              <a:t>手機全程靜音</a:t>
            </a:r>
            <a:endParaRPr lang="en-US" altLang="zh-TW" sz="2800">
              <a:solidFill>
                <a:srgbClr val="111111"/>
              </a:solidFill>
              <a:latin typeface="-apple-system"/>
            </a:endParaRPr>
          </a:p>
          <a:p>
            <a:pPr marL="0" indent="0">
              <a:buNone/>
            </a:pPr>
            <a:endParaRPr lang="en-US" altLang="zh-TW" sz="2000">
              <a:solidFill>
                <a:srgbClr val="111111"/>
              </a:solidFill>
              <a:latin typeface="-apple-system"/>
            </a:endParaRPr>
          </a:p>
          <a:p>
            <a:pPr>
              <a:buFont typeface="Wingdings"/>
              <a:buChar char="§"/>
            </a:pPr>
            <a:endParaRPr lang="en-US" altLang="zh-TW"/>
          </a:p>
          <a:p>
            <a:pPr marL="0" indent="0">
              <a:buNone/>
            </a:pPr>
            <a:endParaRPr lang="en-US"/>
          </a:p>
          <a:p>
            <a:pPr marL="0" indent="0">
              <a:buNone/>
            </a:pPr>
            <a:endParaRPr lang="en-US"/>
          </a:p>
          <a:p>
            <a:endParaRPr lang="en-US"/>
          </a:p>
          <a:p>
            <a:pPr marL="0" indent="0">
              <a:buNone/>
            </a:pPr>
            <a:endParaRPr lang="en-US"/>
          </a:p>
          <a:p>
            <a:endParaRPr lang="en-US"/>
          </a:p>
        </p:txBody>
      </p:sp>
      <p:sp>
        <p:nvSpPr>
          <p:cNvPr id="10" name="Slide Number Placeholder 3">
            <a:extLst>
              <a:ext uri="{FF2B5EF4-FFF2-40B4-BE49-F238E27FC236}">
                <a16:creationId xmlns:a16="http://schemas.microsoft.com/office/drawing/2014/main" id="{76D5ECFA-AE8E-900F-7682-61FD6100E7E3}"/>
              </a:ext>
            </a:extLst>
          </p:cNvPr>
          <p:cNvSpPr>
            <a:spLocks noGrp="1"/>
          </p:cNvSpPr>
          <p:nvPr>
            <p:ph type="sldNum" sz="quarter" idx="12"/>
          </p:nvPr>
        </p:nvSpPr>
        <p:spPr>
          <a:xfrm>
            <a:off x="11119557" y="6080555"/>
            <a:ext cx="676910" cy="588863"/>
          </a:xfrm>
        </p:spPr>
        <p:txBody>
          <a:bodyPr/>
          <a:lstStyle/>
          <a:p>
            <a:pPr>
              <a:spcAft>
                <a:spcPts val="600"/>
              </a:spcAft>
            </a:pPr>
            <a:fld id="{51845F5A-061D-4825-9AE9-D7794091C6CF}" type="slidenum">
              <a:rPr lang="en-US" smtClean="0"/>
              <a:pPr>
                <a:spcAft>
                  <a:spcPts val="600"/>
                </a:spcAft>
              </a:pPr>
              <a:t>2</a:t>
            </a:fld>
            <a:endParaRPr lang="en-US"/>
          </a:p>
        </p:txBody>
      </p:sp>
    </p:spTree>
    <p:extLst>
      <p:ext uri="{BB962C8B-B14F-4D97-AF65-F5344CB8AC3E}">
        <p14:creationId xmlns:p14="http://schemas.microsoft.com/office/powerpoint/2010/main" val="4351907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內容版面配置區 3">
            <a:extLst>
              <a:ext uri="{FF2B5EF4-FFF2-40B4-BE49-F238E27FC236}">
                <a16:creationId xmlns:a16="http://schemas.microsoft.com/office/drawing/2014/main" id="{8D0FE662-DF36-D867-4D5B-9CAB0AFD4BB5}"/>
              </a:ext>
            </a:extLst>
          </p:cNvPr>
          <p:cNvGraphicFramePr>
            <a:graphicFrameLocks noGrp="1"/>
          </p:cNvGraphicFramePr>
          <p:nvPr>
            <p:ph idx="1"/>
            <p:extLst>
              <p:ext uri="{D42A27DB-BD31-4B8C-83A1-F6EECF244321}">
                <p14:modId xmlns:p14="http://schemas.microsoft.com/office/powerpoint/2010/main" val="2577203440"/>
              </p:ext>
            </p:extLst>
          </p:nvPr>
        </p:nvGraphicFramePr>
        <p:xfrm>
          <a:off x="381001" y="2008094"/>
          <a:ext cx="3608294" cy="3339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投影片編號版面配置區 2">
            <a:extLst>
              <a:ext uri="{FF2B5EF4-FFF2-40B4-BE49-F238E27FC236}">
                <a16:creationId xmlns:a16="http://schemas.microsoft.com/office/drawing/2014/main" id="{8E7D515C-C580-7B9B-171D-F0856352FBB2}"/>
              </a:ext>
            </a:extLst>
          </p:cNvPr>
          <p:cNvSpPr>
            <a:spLocks noGrp="1"/>
          </p:cNvSpPr>
          <p:nvPr>
            <p:ph type="sldNum" sz="quarter" idx="12"/>
          </p:nvPr>
        </p:nvSpPr>
        <p:spPr/>
        <p:txBody>
          <a:bodyPr/>
          <a:lstStyle/>
          <a:p>
            <a:fld id="{4C0C40C3-3CCF-4B11-80C9-BCC62D2234EE}" type="slidenum">
              <a:rPr lang="en-US" smtClean="0"/>
              <a:t>20</a:t>
            </a:fld>
            <a:endParaRPr lang="en-US"/>
          </a:p>
        </p:txBody>
      </p:sp>
      <p:sp>
        <p:nvSpPr>
          <p:cNvPr id="2" name="標題 1">
            <a:extLst>
              <a:ext uri="{FF2B5EF4-FFF2-40B4-BE49-F238E27FC236}">
                <a16:creationId xmlns:a16="http://schemas.microsoft.com/office/drawing/2014/main" id="{39F453F4-A7B1-1615-CDF0-6B2F698E3DF5}"/>
              </a:ext>
            </a:extLst>
          </p:cNvPr>
          <p:cNvSpPr>
            <a:spLocks noGrp="1"/>
          </p:cNvSpPr>
          <p:nvPr>
            <p:ph type="title"/>
          </p:nvPr>
        </p:nvSpPr>
        <p:spPr>
          <a:xfrm>
            <a:off x="241250" y="390391"/>
            <a:ext cx="9504181" cy="360099"/>
          </a:xfrm>
        </p:spPr>
        <p:txBody>
          <a:bodyPr>
            <a:noAutofit/>
          </a:bodyPr>
          <a:lstStyle/>
          <a:p>
            <a:r>
              <a:rPr lang="zh-TW" altLang="en-US" sz="2600">
                <a:latin typeface="+mn-ea"/>
                <a:ea typeface="+mn-ea"/>
              </a:rPr>
              <a:t>供應商管理計畫</a:t>
            </a:r>
          </a:p>
        </p:txBody>
      </p:sp>
      <p:pic>
        <p:nvPicPr>
          <p:cNvPr id="5" name="圖片 4">
            <a:extLst>
              <a:ext uri="{FF2B5EF4-FFF2-40B4-BE49-F238E27FC236}">
                <a16:creationId xmlns:a16="http://schemas.microsoft.com/office/drawing/2014/main" id="{9D28A80D-A151-3E30-7537-FB8877B5EBFE}"/>
              </a:ext>
            </a:extLst>
          </p:cNvPr>
          <p:cNvPicPr>
            <a:picLocks noChangeAspect="1"/>
          </p:cNvPicPr>
          <p:nvPr/>
        </p:nvPicPr>
        <p:blipFill>
          <a:blip r:embed="rId8"/>
          <a:srcRect l="9740" t="26391" r="45859" b="15595"/>
          <a:stretch/>
        </p:blipFill>
        <p:spPr>
          <a:xfrm>
            <a:off x="4132529" y="1299506"/>
            <a:ext cx="6806790" cy="5558494"/>
          </a:xfrm>
          <a:prstGeom prst="rect">
            <a:avLst/>
          </a:prstGeom>
        </p:spPr>
      </p:pic>
    </p:spTree>
    <p:extLst>
      <p:ext uri="{BB962C8B-B14F-4D97-AF65-F5344CB8AC3E}">
        <p14:creationId xmlns:p14="http://schemas.microsoft.com/office/powerpoint/2010/main" val="29911209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內容版面配置區 3">
            <a:extLst>
              <a:ext uri="{FF2B5EF4-FFF2-40B4-BE49-F238E27FC236}">
                <a16:creationId xmlns:a16="http://schemas.microsoft.com/office/drawing/2014/main" id="{8D0FE662-DF36-D867-4D5B-9CAB0AFD4BB5}"/>
              </a:ext>
            </a:extLst>
          </p:cNvPr>
          <p:cNvGraphicFramePr>
            <a:graphicFrameLocks noGrp="1"/>
          </p:cNvGraphicFramePr>
          <p:nvPr>
            <p:ph idx="1"/>
            <p:extLst>
              <p:ext uri="{D42A27DB-BD31-4B8C-83A1-F6EECF244321}">
                <p14:modId xmlns:p14="http://schemas.microsoft.com/office/powerpoint/2010/main" val="1613431372"/>
              </p:ext>
            </p:extLst>
          </p:nvPr>
        </p:nvGraphicFramePr>
        <p:xfrm>
          <a:off x="7849718" y="1896334"/>
          <a:ext cx="3608294" cy="3339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投影片編號版面配置區 2">
            <a:extLst>
              <a:ext uri="{FF2B5EF4-FFF2-40B4-BE49-F238E27FC236}">
                <a16:creationId xmlns:a16="http://schemas.microsoft.com/office/drawing/2014/main" id="{8E7D515C-C580-7B9B-171D-F0856352FBB2}"/>
              </a:ext>
            </a:extLst>
          </p:cNvPr>
          <p:cNvSpPr>
            <a:spLocks noGrp="1"/>
          </p:cNvSpPr>
          <p:nvPr>
            <p:ph type="sldNum" sz="quarter" idx="12"/>
          </p:nvPr>
        </p:nvSpPr>
        <p:spPr/>
        <p:txBody>
          <a:bodyPr/>
          <a:lstStyle/>
          <a:p>
            <a:fld id="{4C0C40C3-3CCF-4B11-80C9-BCC62D2234EE}" type="slidenum">
              <a:rPr lang="en-US" smtClean="0"/>
              <a:t>21</a:t>
            </a:fld>
            <a:endParaRPr lang="en-US"/>
          </a:p>
        </p:txBody>
      </p:sp>
      <p:sp>
        <p:nvSpPr>
          <p:cNvPr id="2" name="標題 1">
            <a:extLst>
              <a:ext uri="{FF2B5EF4-FFF2-40B4-BE49-F238E27FC236}">
                <a16:creationId xmlns:a16="http://schemas.microsoft.com/office/drawing/2014/main" id="{39F453F4-A7B1-1615-CDF0-6B2F698E3DF5}"/>
              </a:ext>
            </a:extLst>
          </p:cNvPr>
          <p:cNvSpPr>
            <a:spLocks noGrp="1"/>
          </p:cNvSpPr>
          <p:nvPr>
            <p:ph type="title"/>
          </p:nvPr>
        </p:nvSpPr>
        <p:spPr>
          <a:xfrm>
            <a:off x="241250" y="390391"/>
            <a:ext cx="9504181" cy="360099"/>
          </a:xfrm>
        </p:spPr>
        <p:txBody>
          <a:bodyPr>
            <a:noAutofit/>
          </a:bodyPr>
          <a:lstStyle/>
          <a:p>
            <a:r>
              <a:rPr lang="zh-TW" altLang="en-US" sz="2600">
                <a:latin typeface="+mn-ea"/>
                <a:ea typeface="+mn-ea"/>
              </a:rPr>
              <a:t>供應商管理計畫</a:t>
            </a:r>
          </a:p>
        </p:txBody>
      </p:sp>
      <p:pic>
        <p:nvPicPr>
          <p:cNvPr id="5" name="圖片 4">
            <a:extLst>
              <a:ext uri="{FF2B5EF4-FFF2-40B4-BE49-F238E27FC236}">
                <a16:creationId xmlns:a16="http://schemas.microsoft.com/office/drawing/2014/main" id="{B85226D5-7259-B89D-DE44-D2C3C3DE226B}"/>
              </a:ext>
            </a:extLst>
          </p:cNvPr>
          <p:cNvPicPr>
            <a:picLocks noChangeAspect="1"/>
          </p:cNvPicPr>
          <p:nvPr/>
        </p:nvPicPr>
        <p:blipFill>
          <a:blip r:embed="rId8"/>
          <a:srcRect l="9231" t="32158" r="52980" b="21512"/>
          <a:stretch/>
        </p:blipFill>
        <p:spPr>
          <a:xfrm>
            <a:off x="395533" y="1316721"/>
            <a:ext cx="7051747" cy="5403436"/>
          </a:xfrm>
          <a:prstGeom prst="rect">
            <a:avLst/>
          </a:prstGeom>
        </p:spPr>
      </p:pic>
    </p:spTree>
    <p:extLst>
      <p:ext uri="{BB962C8B-B14F-4D97-AF65-F5344CB8AC3E}">
        <p14:creationId xmlns:p14="http://schemas.microsoft.com/office/powerpoint/2010/main" val="37457249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內容版面配置區 3">
            <a:extLst>
              <a:ext uri="{FF2B5EF4-FFF2-40B4-BE49-F238E27FC236}">
                <a16:creationId xmlns:a16="http://schemas.microsoft.com/office/drawing/2014/main" id="{8D0FE662-DF36-D867-4D5B-9CAB0AFD4BB5}"/>
              </a:ext>
            </a:extLst>
          </p:cNvPr>
          <p:cNvGraphicFramePr>
            <a:graphicFrameLocks noGrp="1"/>
          </p:cNvGraphicFramePr>
          <p:nvPr>
            <p:ph idx="1"/>
            <p:extLst>
              <p:ext uri="{D42A27DB-BD31-4B8C-83A1-F6EECF244321}">
                <p14:modId xmlns:p14="http://schemas.microsoft.com/office/powerpoint/2010/main" val="2733057213"/>
              </p:ext>
            </p:extLst>
          </p:nvPr>
        </p:nvGraphicFramePr>
        <p:xfrm>
          <a:off x="7849718" y="1896334"/>
          <a:ext cx="3608294" cy="33393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投影片編號版面配置區 2">
            <a:extLst>
              <a:ext uri="{FF2B5EF4-FFF2-40B4-BE49-F238E27FC236}">
                <a16:creationId xmlns:a16="http://schemas.microsoft.com/office/drawing/2014/main" id="{8E7D515C-C580-7B9B-171D-F0856352FBB2}"/>
              </a:ext>
            </a:extLst>
          </p:cNvPr>
          <p:cNvSpPr>
            <a:spLocks noGrp="1"/>
          </p:cNvSpPr>
          <p:nvPr>
            <p:ph type="sldNum" sz="quarter" idx="12"/>
          </p:nvPr>
        </p:nvSpPr>
        <p:spPr/>
        <p:txBody>
          <a:bodyPr/>
          <a:lstStyle/>
          <a:p>
            <a:fld id="{4C0C40C3-3CCF-4B11-80C9-BCC62D2234EE}" type="slidenum">
              <a:rPr lang="en-US" smtClean="0"/>
              <a:t>22</a:t>
            </a:fld>
            <a:endParaRPr lang="en-US"/>
          </a:p>
        </p:txBody>
      </p:sp>
      <p:sp>
        <p:nvSpPr>
          <p:cNvPr id="2" name="標題 1">
            <a:extLst>
              <a:ext uri="{FF2B5EF4-FFF2-40B4-BE49-F238E27FC236}">
                <a16:creationId xmlns:a16="http://schemas.microsoft.com/office/drawing/2014/main" id="{39F453F4-A7B1-1615-CDF0-6B2F698E3DF5}"/>
              </a:ext>
            </a:extLst>
          </p:cNvPr>
          <p:cNvSpPr>
            <a:spLocks noGrp="1"/>
          </p:cNvSpPr>
          <p:nvPr>
            <p:ph type="title"/>
          </p:nvPr>
        </p:nvSpPr>
        <p:spPr>
          <a:xfrm>
            <a:off x="241250" y="390391"/>
            <a:ext cx="9504181" cy="360099"/>
          </a:xfrm>
        </p:spPr>
        <p:txBody>
          <a:bodyPr>
            <a:noAutofit/>
          </a:bodyPr>
          <a:lstStyle/>
          <a:p>
            <a:r>
              <a:rPr lang="zh-TW" altLang="en-US" sz="2600">
                <a:latin typeface="+mn-ea"/>
                <a:ea typeface="+mn-ea"/>
              </a:rPr>
              <a:t>供應商管理計畫</a:t>
            </a:r>
          </a:p>
        </p:txBody>
      </p:sp>
      <p:pic>
        <p:nvPicPr>
          <p:cNvPr id="6" name="圖片 5">
            <a:extLst>
              <a:ext uri="{FF2B5EF4-FFF2-40B4-BE49-F238E27FC236}">
                <a16:creationId xmlns:a16="http://schemas.microsoft.com/office/drawing/2014/main" id="{20473945-E8D9-6043-1C1E-A0D577BE232A}"/>
              </a:ext>
            </a:extLst>
          </p:cNvPr>
          <p:cNvPicPr>
            <a:picLocks noChangeAspect="1"/>
          </p:cNvPicPr>
          <p:nvPr/>
        </p:nvPicPr>
        <p:blipFill>
          <a:blip r:embed="rId8"/>
          <a:srcRect l="47660" t="32374" r="10510" b="21512"/>
          <a:stretch/>
        </p:blipFill>
        <p:spPr>
          <a:xfrm>
            <a:off x="447041" y="1371675"/>
            <a:ext cx="7395754" cy="5095934"/>
          </a:xfrm>
          <a:prstGeom prst="rect">
            <a:avLst/>
          </a:prstGeom>
        </p:spPr>
      </p:pic>
    </p:spTree>
    <p:extLst>
      <p:ext uri="{BB962C8B-B14F-4D97-AF65-F5344CB8AC3E}">
        <p14:creationId xmlns:p14="http://schemas.microsoft.com/office/powerpoint/2010/main" val="15168373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投影片編號版面配置區 2">
            <a:extLst>
              <a:ext uri="{FF2B5EF4-FFF2-40B4-BE49-F238E27FC236}">
                <a16:creationId xmlns:a16="http://schemas.microsoft.com/office/drawing/2014/main" id="{7620B471-BB75-F1A5-343E-5F5AE079FEE6}"/>
              </a:ext>
            </a:extLst>
          </p:cNvPr>
          <p:cNvSpPr>
            <a:spLocks noGrp="1"/>
          </p:cNvSpPr>
          <p:nvPr>
            <p:ph type="sldNum" sz="quarter" idx="12"/>
          </p:nvPr>
        </p:nvSpPr>
        <p:spPr/>
        <p:txBody>
          <a:bodyPr/>
          <a:lstStyle/>
          <a:p>
            <a:fld id="{4C0C40C3-3CCF-4B11-80C9-BCC62D2234EE}" type="slidenum">
              <a:rPr lang="en-US" smtClean="0"/>
              <a:t>23</a:t>
            </a:fld>
            <a:endParaRPr lang="en-US"/>
          </a:p>
        </p:txBody>
      </p:sp>
      <p:pic>
        <p:nvPicPr>
          <p:cNvPr id="5" name="圖片 4">
            <a:extLst>
              <a:ext uri="{FF2B5EF4-FFF2-40B4-BE49-F238E27FC236}">
                <a16:creationId xmlns:a16="http://schemas.microsoft.com/office/drawing/2014/main" id="{F8580E8E-E176-9793-6674-84C1219BCA32}"/>
              </a:ext>
            </a:extLst>
          </p:cNvPr>
          <p:cNvPicPr>
            <a:picLocks noChangeAspect="1"/>
          </p:cNvPicPr>
          <p:nvPr/>
        </p:nvPicPr>
        <p:blipFill>
          <a:blip r:embed="rId3"/>
          <a:srcRect l="8987" t="35163" r="48121" b="36862"/>
          <a:stretch/>
        </p:blipFill>
        <p:spPr>
          <a:xfrm>
            <a:off x="3998260" y="1192283"/>
            <a:ext cx="7488565" cy="3505224"/>
          </a:xfrm>
          <a:prstGeom prst="rect">
            <a:avLst/>
          </a:prstGeom>
        </p:spPr>
      </p:pic>
      <p:pic>
        <p:nvPicPr>
          <p:cNvPr id="7" name="圖片 6">
            <a:extLst>
              <a:ext uri="{FF2B5EF4-FFF2-40B4-BE49-F238E27FC236}">
                <a16:creationId xmlns:a16="http://schemas.microsoft.com/office/drawing/2014/main" id="{E6F23447-E2F8-3200-7756-8034EBC4886F}"/>
              </a:ext>
            </a:extLst>
          </p:cNvPr>
          <p:cNvPicPr>
            <a:picLocks noChangeAspect="1"/>
          </p:cNvPicPr>
          <p:nvPr/>
        </p:nvPicPr>
        <p:blipFill>
          <a:blip r:embed="rId3"/>
          <a:srcRect l="14379" t="20000" r="74673" b="74749"/>
          <a:stretch/>
        </p:blipFill>
        <p:spPr>
          <a:xfrm>
            <a:off x="4193158" y="832183"/>
            <a:ext cx="1201271" cy="360099"/>
          </a:xfrm>
          <a:prstGeom prst="rect">
            <a:avLst/>
          </a:prstGeom>
        </p:spPr>
      </p:pic>
      <p:pic>
        <p:nvPicPr>
          <p:cNvPr id="9" name="圖片 8">
            <a:extLst>
              <a:ext uri="{FF2B5EF4-FFF2-40B4-BE49-F238E27FC236}">
                <a16:creationId xmlns:a16="http://schemas.microsoft.com/office/drawing/2014/main" id="{020C61EB-67E8-5AF0-9E5A-72136E0E6E2B}"/>
              </a:ext>
            </a:extLst>
          </p:cNvPr>
          <p:cNvPicPr>
            <a:picLocks noChangeAspect="1"/>
          </p:cNvPicPr>
          <p:nvPr/>
        </p:nvPicPr>
        <p:blipFill>
          <a:blip r:embed="rId4"/>
          <a:srcRect l="5147" t="12589" r="58415" b="28497"/>
          <a:stretch/>
        </p:blipFill>
        <p:spPr>
          <a:xfrm>
            <a:off x="0" y="0"/>
            <a:ext cx="3998260" cy="4040306"/>
          </a:xfrm>
          <a:prstGeom prst="rect">
            <a:avLst/>
          </a:prstGeom>
        </p:spPr>
      </p:pic>
      <p:pic>
        <p:nvPicPr>
          <p:cNvPr id="4" name="Picture 3">
            <a:extLst>
              <a:ext uri="{FF2B5EF4-FFF2-40B4-BE49-F238E27FC236}">
                <a16:creationId xmlns:a16="http://schemas.microsoft.com/office/drawing/2014/main" id="{94226008-3F60-4D44-9090-2CD652091B69}"/>
              </a:ext>
            </a:extLst>
          </p:cNvPr>
          <p:cNvPicPr>
            <a:picLocks noChangeAspect="1"/>
          </p:cNvPicPr>
          <p:nvPr/>
        </p:nvPicPr>
        <p:blipFill>
          <a:blip r:embed="rId5"/>
          <a:stretch>
            <a:fillRect/>
          </a:stretch>
        </p:blipFill>
        <p:spPr>
          <a:xfrm>
            <a:off x="408188" y="4234649"/>
            <a:ext cx="3582336" cy="1791168"/>
          </a:xfrm>
          <a:prstGeom prst="rect">
            <a:avLst/>
          </a:prstGeom>
        </p:spPr>
      </p:pic>
    </p:spTree>
    <p:extLst>
      <p:ext uri="{BB962C8B-B14F-4D97-AF65-F5344CB8AC3E}">
        <p14:creationId xmlns:p14="http://schemas.microsoft.com/office/powerpoint/2010/main" val="37788392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E1A8335-917F-4F2C-CE73-130D8D7BC229}"/>
              </a:ext>
            </a:extLst>
          </p:cNvPr>
          <p:cNvSpPr>
            <a:spLocks noGrp="1"/>
          </p:cNvSpPr>
          <p:nvPr>
            <p:ph type="title"/>
          </p:nvPr>
        </p:nvSpPr>
        <p:spPr>
          <a:xfrm>
            <a:off x="383158" y="3030692"/>
            <a:ext cx="4430889" cy="1747496"/>
          </a:xfrm>
        </p:spPr>
        <p:txBody>
          <a:bodyPr>
            <a:normAutofit/>
          </a:bodyPr>
          <a:lstStyle/>
          <a:p>
            <a:pPr algn="ctr"/>
            <a:r>
              <a:rPr lang="en-IN" altLang="zh-TW" sz="2800" b="0" i="0" u="none" strike="noStrike">
                <a:solidFill>
                  <a:srgbClr val="282828"/>
                </a:solidFill>
                <a:effectLst/>
                <a:latin typeface="Montserrat" panose="00000500000000000000" pitchFamily="2" charset="0"/>
              </a:rPr>
              <a:t>ESG &amp; Supplier Code of conduct</a:t>
            </a:r>
            <a:r>
              <a:rPr lang="en-IN" altLang="zh-TW" sz="2800" b="0" i="0">
                <a:solidFill>
                  <a:srgbClr val="000000"/>
                </a:solidFill>
                <a:effectLst/>
                <a:latin typeface="Montserrat" panose="00000500000000000000" pitchFamily="2" charset="0"/>
              </a:rPr>
              <a:t>​</a:t>
            </a:r>
            <a:br>
              <a:rPr lang="en-IN" altLang="zh-TW" sz="2800" b="0" i="0">
                <a:solidFill>
                  <a:srgbClr val="000000"/>
                </a:solidFill>
                <a:effectLst/>
                <a:latin typeface="Montserrat" panose="00000500000000000000" pitchFamily="2" charset="0"/>
              </a:rPr>
            </a:br>
            <a:r>
              <a:rPr lang="zh-TW" altLang="en-US" sz="2800" b="0" i="0" u="none" strike="noStrike">
                <a:solidFill>
                  <a:srgbClr val="282828"/>
                </a:solidFill>
                <a:effectLst/>
                <a:ea typeface="Montserrat" panose="00000500000000000000" pitchFamily="2" charset="0"/>
              </a:rPr>
              <a:t>供應商行為準則</a:t>
            </a:r>
            <a:r>
              <a:rPr lang="zh-TW" altLang="en-US" sz="2800" b="0" i="0">
                <a:solidFill>
                  <a:srgbClr val="000000"/>
                </a:solidFill>
                <a:effectLst/>
                <a:latin typeface="Montserrat" panose="00000500000000000000" pitchFamily="2" charset="0"/>
              </a:rPr>
              <a:t>​</a:t>
            </a:r>
            <a:endParaRPr lang="en-US" sz="4400"/>
          </a:p>
        </p:txBody>
      </p:sp>
      <p:sp>
        <p:nvSpPr>
          <p:cNvPr id="10" name="Slide Number Placeholder 3">
            <a:extLst>
              <a:ext uri="{FF2B5EF4-FFF2-40B4-BE49-F238E27FC236}">
                <a16:creationId xmlns:a16="http://schemas.microsoft.com/office/drawing/2014/main" id="{76D5ECFA-AE8E-900F-7682-61FD6100E7E3}"/>
              </a:ext>
            </a:extLst>
          </p:cNvPr>
          <p:cNvSpPr>
            <a:spLocks noGrp="1"/>
          </p:cNvSpPr>
          <p:nvPr>
            <p:ph type="sldNum" sz="quarter" idx="12"/>
          </p:nvPr>
        </p:nvSpPr>
        <p:spPr>
          <a:xfrm>
            <a:off x="11119557" y="6080555"/>
            <a:ext cx="676910" cy="588863"/>
          </a:xfrm>
        </p:spPr>
        <p:txBody>
          <a:bodyPr/>
          <a:lstStyle/>
          <a:p>
            <a:pPr>
              <a:spcAft>
                <a:spcPts val="600"/>
              </a:spcAft>
            </a:pPr>
            <a:fld id="{51845F5A-061D-4825-9AE9-D7794091C6CF}" type="slidenum">
              <a:rPr lang="en-US" smtClean="0"/>
              <a:pPr>
                <a:spcAft>
                  <a:spcPts val="600"/>
                </a:spcAft>
              </a:pPr>
              <a:t>24</a:t>
            </a:fld>
            <a:endParaRPr lang="en-US"/>
          </a:p>
        </p:txBody>
      </p:sp>
      <p:pic>
        <p:nvPicPr>
          <p:cNvPr id="2" name="Picture 1">
            <a:extLst>
              <a:ext uri="{FF2B5EF4-FFF2-40B4-BE49-F238E27FC236}">
                <a16:creationId xmlns:a16="http://schemas.microsoft.com/office/drawing/2014/main" id="{26CAC6B6-2990-5D68-53E5-597055437463}"/>
              </a:ext>
            </a:extLst>
          </p:cNvPr>
          <p:cNvPicPr>
            <a:picLocks noChangeAspect="1"/>
          </p:cNvPicPr>
          <p:nvPr/>
        </p:nvPicPr>
        <p:blipFill>
          <a:blip r:embed="rId3"/>
          <a:stretch>
            <a:fillRect/>
          </a:stretch>
        </p:blipFill>
        <p:spPr>
          <a:xfrm>
            <a:off x="5029200" y="1055667"/>
            <a:ext cx="5829071" cy="5007887"/>
          </a:xfrm>
          <a:prstGeom prst="rect">
            <a:avLst/>
          </a:prstGeom>
        </p:spPr>
      </p:pic>
    </p:spTree>
    <p:extLst>
      <p:ext uri="{BB962C8B-B14F-4D97-AF65-F5344CB8AC3E}">
        <p14:creationId xmlns:p14="http://schemas.microsoft.com/office/powerpoint/2010/main" val="21701209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6D59168-F4C2-51C5-42BC-19136AB9CE9B}"/>
              </a:ext>
            </a:extLst>
          </p:cNvPr>
          <p:cNvSpPr>
            <a:spLocks noGrp="1"/>
          </p:cNvSpPr>
          <p:nvPr>
            <p:ph type="sldNum" sz="quarter" idx="12"/>
          </p:nvPr>
        </p:nvSpPr>
        <p:spPr/>
        <p:txBody>
          <a:bodyPr/>
          <a:lstStyle/>
          <a:p>
            <a:fld id="{51845F5A-061D-4825-9AE9-D7794091C6CF}" type="slidenum">
              <a:rPr lang="en-US" smtClean="0"/>
              <a:t>25</a:t>
            </a:fld>
            <a:endParaRPr lang="en-US"/>
          </a:p>
        </p:txBody>
      </p:sp>
      <p:sp>
        <p:nvSpPr>
          <p:cNvPr id="5" name="Rectangle: Rounded Corners 4">
            <a:extLst>
              <a:ext uri="{FF2B5EF4-FFF2-40B4-BE49-F238E27FC236}">
                <a16:creationId xmlns:a16="http://schemas.microsoft.com/office/drawing/2014/main" id="{8C07B764-CAA4-DEE6-F0B9-E4400658BA01}"/>
              </a:ext>
            </a:extLst>
          </p:cNvPr>
          <p:cNvSpPr/>
          <p:nvPr/>
        </p:nvSpPr>
        <p:spPr>
          <a:xfrm>
            <a:off x="580621" y="1428459"/>
            <a:ext cx="5001573" cy="3601532"/>
          </a:xfrm>
          <a:prstGeom prst="roundRect">
            <a:avLst/>
          </a:prstGeom>
          <a:solidFill>
            <a:srgbClr val="FFD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6" name="TextBox 5">
            <a:extLst>
              <a:ext uri="{FF2B5EF4-FFF2-40B4-BE49-F238E27FC236}">
                <a16:creationId xmlns:a16="http://schemas.microsoft.com/office/drawing/2014/main" id="{CE81FE2B-1836-872B-A6B9-415D593F8CB2}"/>
              </a:ext>
            </a:extLst>
          </p:cNvPr>
          <p:cNvSpPr txBox="1"/>
          <p:nvPr/>
        </p:nvSpPr>
        <p:spPr>
          <a:xfrm>
            <a:off x="707569" y="1613671"/>
            <a:ext cx="4926487" cy="2585323"/>
          </a:xfrm>
          <a:prstGeom prst="rect">
            <a:avLst/>
          </a:prstGeom>
          <a:noFill/>
        </p:spPr>
        <p:txBody>
          <a:bodyPr wrap="square" rtlCol="0">
            <a:spAutoFit/>
          </a:bodyPr>
          <a:lstStyle/>
          <a:p>
            <a:pPr algn="ctr"/>
            <a:r>
              <a:rPr lang="zh-TW" altLang="en-US" b="1">
                <a:latin typeface="標楷體" panose="03000509000000000000" pitchFamily="65" charset="-120"/>
                <a:ea typeface="標楷體" panose="03000509000000000000" pitchFamily="65" charset="-120"/>
              </a:rPr>
              <a:t>企業社會責任</a:t>
            </a:r>
            <a:endParaRPr lang="en-IN" b="1">
              <a:latin typeface="標楷體" panose="03000509000000000000" pitchFamily="65" charset="-120"/>
              <a:ea typeface="標楷體" panose="03000509000000000000" pitchFamily="65" charset="-120"/>
            </a:endParaRPr>
          </a:p>
          <a:p>
            <a:endParaRPr lang="en-IN">
              <a:latin typeface="標楷體" panose="03000509000000000000" pitchFamily="65" charset="-120"/>
              <a:ea typeface="標楷體" panose="03000509000000000000" pitchFamily="65" charset="-120"/>
            </a:endParaRPr>
          </a:p>
          <a:p>
            <a:r>
              <a:rPr lang="zh-TW" altLang="en-US">
                <a:latin typeface="標楷體" panose="03000509000000000000" pitchFamily="65" charset="-120"/>
                <a:ea typeface="標楷體" panose="03000509000000000000" pitchFamily="65" charset="-120"/>
              </a:rPr>
              <a:t>公司致力於維護人權，確保公平的工資，尊重結社自由和集體談判。這一承諾反映了對道德商業行為和資訊披露透明度的專注。</a:t>
            </a:r>
            <a:endParaRPr lang="en-US" altLang="zh-TW">
              <a:latin typeface="標楷體" panose="03000509000000000000" pitchFamily="65" charset="-120"/>
              <a:ea typeface="標楷體" panose="03000509000000000000" pitchFamily="65" charset="-120"/>
            </a:endParaRPr>
          </a:p>
          <a:p>
            <a:endParaRPr lang="en-US">
              <a:latin typeface="標楷體" panose="03000509000000000000" pitchFamily="65" charset="-120"/>
              <a:ea typeface="標楷體" panose="03000509000000000000" pitchFamily="65" charset="-120"/>
            </a:endParaRPr>
          </a:p>
          <a:p>
            <a:r>
              <a:rPr lang="zh-TW" altLang="en-US">
                <a:latin typeface="標楷體" panose="03000509000000000000" pitchFamily="65" charset="-120"/>
                <a:ea typeface="標楷體" panose="03000509000000000000" pitchFamily="65" charset="-120"/>
              </a:rPr>
              <a:t>公司的承諾延伸到在懷孕和分娩期間保護女性員工，展示了確保員工福祉的綜合方法。</a:t>
            </a:r>
          </a:p>
          <a:p>
            <a:endParaRPr lang="en-IN">
              <a:latin typeface="標楷體" panose="03000509000000000000" pitchFamily="65" charset="-120"/>
              <a:ea typeface="標楷體" panose="03000509000000000000" pitchFamily="65" charset="-120"/>
            </a:endParaRPr>
          </a:p>
        </p:txBody>
      </p:sp>
      <p:sp>
        <p:nvSpPr>
          <p:cNvPr id="7" name="Rectangle: Rounded Corners 6">
            <a:extLst>
              <a:ext uri="{FF2B5EF4-FFF2-40B4-BE49-F238E27FC236}">
                <a16:creationId xmlns:a16="http://schemas.microsoft.com/office/drawing/2014/main" id="{CCCF6129-4A52-81E8-48AF-7FE1FF8580D3}"/>
              </a:ext>
            </a:extLst>
          </p:cNvPr>
          <p:cNvSpPr/>
          <p:nvPr/>
        </p:nvSpPr>
        <p:spPr>
          <a:xfrm>
            <a:off x="831219" y="5147820"/>
            <a:ext cx="2164530" cy="1354764"/>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8" name="TextBox 7">
            <a:extLst>
              <a:ext uri="{FF2B5EF4-FFF2-40B4-BE49-F238E27FC236}">
                <a16:creationId xmlns:a16="http://schemas.microsoft.com/office/drawing/2014/main" id="{D39A922C-686D-9613-51E7-D37D163CB0CA}"/>
              </a:ext>
            </a:extLst>
          </p:cNvPr>
          <p:cNvSpPr txBox="1"/>
          <p:nvPr/>
        </p:nvSpPr>
        <p:spPr>
          <a:xfrm>
            <a:off x="928995" y="5209281"/>
            <a:ext cx="2066753" cy="1200329"/>
          </a:xfrm>
          <a:prstGeom prst="rect">
            <a:avLst/>
          </a:prstGeom>
          <a:noFill/>
        </p:spPr>
        <p:txBody>
          <a:bodyPr wrap="square" rtlCol="0">
            <a:spAutoFit/>
          </a:bodyPr>
          <a:lstStyle/>
          <a:p>
            <a:pPr algn="ctr"/>
            <a:r>
              <a:rPr lang="zh-TW" altLang="en-US" b="1">
                <a:latin typeface="標楷體" panose="03000509000000000000" pitchFamily="65" charset="-120"/>
                <a:ea typeface="標楷體" panose="03000509000000000000" pitchFamily="65" charset="-120"/>
              </a:rPr>
              <a:t>勞工與人權</a:t>
            </a:r>
            <a:endParaRPr lang="en-IN">
              <a:latin typeface="標楷體" panose="03000509000000000000" pitchFamily="65" charset="-120"/>
              <a:ea typeface="標楷體" panose="03000509000000000000" pitchFamily="65" charset="-120"/>
            </a:endParaRPr>
          </a:p>
          <a:p>
            <a:pPr marL="285750" indent="-285750">
              <a:buFont typeface="Arial" panose="020B0604020202020204" pitchFamily="34" charset="0"/>
              <a:buChar char="•"/>
            </a:pPr>
            <a:r>
              <a:rPr lang="zh-TW" altLang="en-US">
                <a:latin typeface="標楷體" panose="03000509000000000000" pitchFamily="65" charset="-120"/>
                <a:ea typeface="標楷體" panose="03000509000000000000" pitchFamily="65" charset="-120"/>
              </a:rPr>
              <a:t>自願就業</a:t>
            </a:r>
            <a:endParaRPr lang="en-IN">
              <a:latin typeface="標楷體" panose="03000509000000000000" pitchFamily="65" charset="-120"/>
              <a:ea typeface="標楷體" panose="03000509000000000000" pitchFamily="65" charset="-120"/>
            </a:endParaRPr>
          </a:p>
          <a:p>
            <a:pPr marL="285750" indent="-285750">
              <a:buFont typeface="Arial" panose="020B0604020202020204" pitchFamily="34" charset="0"/>
              <a:buChar char="•"/>
            </a:pPr>
            <a:r>
              <a:rPr lang="zh-TW" altLang="en-US">
                <a:latin typeface="標楷體" panose="03000509000000000000" pitchFamily="65" charset="-120"/>
                <a:ea typeface="標楷體" panose="03000509000000000000" pitchFamily="65" charset="-120"/>
              </a:rPr>
              <a:t>禁止童工</a:t>
            </a:r>
            <a:endParaRPr lang="en-IN">
              <a:latin typeface="標楷體" panose="03000509000000000000" pitchFamily="65" charset="-120"/>
              <a:ea typeface="標楷體" panose="03000509000000000000" pitchFamily="65" charset="-120"/>
            </a:endParaRPr>
          </a:p>
          <a:p>
            <a:pPr marL="285750" indent="-285750">
              <a:buFont typeface="Arial" panose="020B0604020202020204" pitchFamily="34" charset="0"/>
              <a:buChar char="•"/>
            </a:pPr>
            <a:r>
              <a:rPr lang="zh-TW" altLang="en-US">
                <a:latin typeface="標楷體" panose="03000509000000000000" pitchFamily="65" charset="-120"/>
                <a:ea typeface="標楷體" panose="03000509000000000000" pitchFamily="65" charset="-120"/>
              </a:rPr>
              <a:t>尊重結社自由</a:t>
            </a:r>
          </a:p>
        </p:txBody>
      </p:sp>
      <p:sp>
        <p:nvSpPr>
          <p:cNvPr id="9" name="Rectangle: Rounded Corners 8">
            <a:extLst>
              <a:ext uri="{FF2B5EF4-FFF2-40B4-BE49-F238E27FC236}">
                <a16:creationId xmlns:a16="http://schemas.microsoft.com/office/drawing/2014/main" id="{31ABE3B1-B6AF-0B64-8031-F2282C55098B}"/>
              </a:ext>
            </a:extLst>
          </p:cNvPr>
          <p:cNvSpPr/>
          <p:nvPr/>
        </p:nvSpPr>
        <p:spPr>
          <a:xfrm>
            <a:off x="3181708" y="5147820"/>
            <a:ext cx="2066753" cy="1362568"/>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600"/>
          </a:p>
        </p:txBody>
      </p:sp>
      <p:sp>
        <p:nvSpPr>
          <p:cNvPr id="10" name="TextBox 9">
            <a:extLst>
              <a:ext uri="{FF2B5EF4-FFF2-40B4-BE49-F238E27FC236}">
                <a16:creationId xmlns:a16="http://schemas.microsoft.com/office/drawing/2014/main" id="{DF390D0E-1369-01C3-A149-14C0992EDB0D}"/>
              </a:ext>
            </a:extLst>
          </p:cNvPr>
          <p:cNvSpPr txBox="1"/>
          <p:nvPr/>
        </p:nvSpPr>
        <p:spPr>
          <a:xfrm>
            <a:off x="3317966" y="5209281"/>
            <a:ext cx="1955193" cy="1200329"/>
          </a:xfrm>
          <a:prstGeom prst="rect">
            <a:avLst/>
          </a:prstGeom>
          <a:noFill/>
        </p:spPr>
        <p:txBody>
          <a:bodyPr wrap="square" rtlCol="0">
            <a:spAutoFit/>
          </a:bodyPr>
          <a:lstStyle/>
          <a:p>
            <a:pPr algn="ctr"/>
            <a:r>
              <a:rPr lang="zh-TW" altLang="en-US" b="1">
                <a:latin typeface="標楷體" panose="03000509000000000000" pitchFamily="65" charset="-120"/>
                <a:ea typeface="標楷體" panose="03000509000000000000" pitchFamily="65" charset="-120"/>
              </a:rPr>
              <a:t>健康與安全</a:t>
            </a:r>
            <a:endParaRPr lang="en-US">
              <a:latin typeface="標楷體" panose="03000509000000000000" pitchFamily="65" charset="-120"/>
              <a:ea typeface="標楷體" panose="03000509000000000000" pitchFamily="65" charset="-120"/>
            </a:endParaRPr>
          </a:p>
          <a:p>
            <a:pPr>
              <a:buFont typeface="Arial" panose="020B0604020202020204" pitchFamily="34" charset="0"/>
              <a:buChar char="•"/>
            </a:pPr>
            <a:r>
              <a:rPr lang="zh-TW" altLang="en-US">
                <a:latin typeface="標楷體" panose="03000509000000000000" pitchFamily="65" charset="-120"/>
                <a:ea typeface="標楷體" panose="03000509000000000000" pitchFamily="65" charset="-120"/>
              </a:rPr>
              <a:t>職業安全</a:t>
            </a:r>
            <a:endParaRPr lang="en-US">
              <a:latin typeface="標楷體" panose="03000509000000000000" pitchFamily="65" charset="-120"/>
              <a:ea typeface="標楷體" panose="03000509000000000000" pitchFamily="65" charset="-120"/>
            </a:endParaRPr>
          </a:p>
          <a:p>
            <a:pPr>
              <a:buFont typeface="Arial" panose="020B0604020202020204" pitchFamily="34" charset="0"/>
              <a:buChar char="•"/>
            </a:pPr>
            <a:r>
              <a:rPr lang="zh-TW" altLang="en-US">
                <a:latin typeface="標楷體" panose="03000509000000000000" pitchFamily="65" charset="-120"/>
                <a:ea typeface="標楷體" panose="03000509000000000000" pitchFamily="65" charset="-120"/>
              </a:rPr>
              <a:t>健康與安全資訊</a:t>
            </a:r>
            <a:endParaRPr lang="en-US">
              <a:latin typeface="標楷體" panose="03000509000000000000" pitchFamily="65" charset="-120"/>
              <a:ea typeface="標楷體" panose="03000509000000000000" pitchFamily="65" charset="-120"/>
            </a:endParaRPr>
          </a:p>
          <a:p>
            <a:pPr>
              <a:buFont typeface="Arial" panose="020B0604020202020204" pitchFamily="34" charset="0"/>
              <a:buChar char="•"/>
            </a:pPr>
            <a:r>
              <a:rPr lang="zh-TW" altLang="en-US">
                <a:latin typeface="標楷體" panose="03000509000000000000" pitchFamily="65" charset="-120"/>
                <a:ea typeface="標楷體" panose="03000509000000000000" pitchFamily="65" charset="-120"/>
              </a:rPr>
              <a:t>應急應變措施</a:t>
            </a:r>
            <a:endParaRPr lang="en-IN">
              <a:latin typeface="標楷體" panose="03000509000000000000" pitchFamily="65" charset="-120"/>
              <a:ea typeface="標楷體" panose="03000509000000000000" pitchFamily="65" charset="-120"/>
            </a:endParaRPr>
          </a:p>
        </p:txBody>
      </p:sp>
      <p:sp>
        <p:nvSpPr>
          <p:cNvPr id="11" name="Rectangle: Rounded Corners 10">
            <a:extLst>
              <a:ext uri="{FF2B5EF4-FFF2-40B4-BE49-F238E27FC236}">
                <a16:creationId xmlns:a16="http://schemas.microsoft.com/office/drawing/2014/main" id="{4CE945F2-469B-D2B4-4159-4713B27D9DF4}"/>
              </a:ext>
            </a:extLst>
          </p:cNvPr>
          <p:cNvSpPr/>
          <p:nvPr/>
        </p:nvSpPr>
        <p:spPr>
          <a:xfrm>
            <a:off x="5774171" y="1471448"/>
            <a:ext cx="4866803" cy="3595963"/>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2" name="TextBox 11">
            <a:extLst>
              <a:ext uri="{FF2B5EF4-FFF2-40B4-BE49-F238E27FC236}">
                <a16:creationId xmlns:a16="http://schemas.microsoft.com/office/drawing/2014/main" id="{E9EEE463-C6E2-D2D0-D4A8-837424DE5ABC}"/>
              </a:ext>
            </a:extLst>
          </p:cNvPr>
          <p:cNvSpPr txBox="1"/>
          <p:nvPr/>
        </p:nvSpPr>
        <p:spPr>
          <a:xfrm>
            <a:off x="5722308" y="1650753"/>
            <a:ext cx="4534664" cy="1754326"/>
          </a:xfrm>
          <a:prstGeom prst="rect">
            <a:avLst/>
          </a:prstGeom>
          <a:noFill/>
        </p:spPr>
        <p:txBody>
          <a:bodyPr wrap="square" rtlCol="0">
            <a:spAutoFit/>
          </a:bodyPr>
          <a:lstStyle/>
          <a:p>
            <a:pPr algn="ctr"/>
            <a:r>
              <a:rPr lang="zh-TW" altLang="en-US" b="1">
                <a:latin typeface="標楷體" panose="03000509000000000000" pitchFamily="65" charset="-120"/>
                <a:ea typeface="標楷體" panose="03000509000000000000" pitchFamily="65" charset="-120"/>
              </a:rPr>
              <a:t>永續環境發展</a:t>
            </a:r>
            <a:endParaRPr lang="en-US" b="1">
              <a:latin typeface="標楷體" panose="03000509000000000000" pitchFamily="65" charset="-120"/>
              <a:ea typeface="標楷體" panose="03000509000000000000" pitchFamily="65" charset="-120"/>
            </a:endParaRPr>
          </a:p>
          <a:p>
            <a:r>
              <a:rPr lang="en-US">
                <a:latin typeface="標楷體" panose="03000509000000000000" pitchFamily="65" charset="-120"/>
                <a:ea typeface="標楷體" panose="03000509000000000000" pitchFamily="65" charset="-120"/>
              </a:rPr>
              <a:t> </a:t>
            </a:r>
          </a:p>
          <a:p>
            <a:r>
              <a:rPr lang="zh-TW" altLang="en-US">
                <a:latin typeface="標楷體" panose="03000509000000000000" pitchFamily="65" charset="-120"/>
                <a:ea typeface="標楷體" panose="03000509000000000000" pitchFamily="65" charset="-120"/>
              </a:rPr>
              <a:t>公司承諾減少對環境的影響，節約資源，並跟蹤能源和資源消耗，這與商業世界對實踐永續的日益重視一致。</a:t>
            </a:r>
            <a:endParaRPr lang="en-IN">
              <a:latin typeface="標楷體" panose="03000509000000000000" pitchFamily="65" charset="-120"/>
              <a:ea typeface="標楷體" panose="03000509000000000000" pitchFamily="65" charset="-120"/>
            </a:endParaRPr>
          </a:p>
          <a:p>
            <a:endParaRPr lang="en-IN">
              <a:latin typeface="標楷體" panose="03000509000000000000" pitchFamily="65" charset="-120"/>
              <a:ea typeface="標楷體" panose="03000509000000000000" pitchFamily="65" charset="-120"/>
            </a:endParaRPr>
          </a:p>
        </p:txBody>
      </p:sp>
      <p:sp>
        <p:nvSpPr>
          <p:cNvPr id="15" name="Title 1">
            <a:extLst>
              <a:ext uri="{FF2B5EF4-FFF2-40B4-BE49-F238E27FC236}">
                <a16:creationId xmlns:a16="http://schemas.microsoft.com/office/drawing/2014/main" id="{AB1A0B8F-D593-90A8-70F7-37837837CFE8}"/>
              </a:ext>
            </a:extLst>
          </p:cNvPr>
          <p:cNvSpPr>
            <a:spLocks noGrp="1"/>
          </p:cNvSpPr>
          <p:nvPr>
            <p:ph type="title"/>
          </p:nvPr>
        </p:nvSpPr>
        <p:spPr>
          <a:xfrm>
            <a:off x="301597" y="412364"/>
            <a:ext cx="7147432" cy="492187"/>
          </a:xfrm>
        </p:spPr>
        <p:txBody>
          <a:bodyPr vert="horz" wrap="square" lIns="0" tIns="0" rIns="0" bIns="0" rtlCol="0" anchor="b">
            <a:normAutofit/>
          </a:bodyPr>
          <a:lstStyle/>
          <a:p>
            <a:r>
              <a:rPr lang="en-IN" sz="2600">
                <a:latin typeface="Arial" panose="020B0604020202020204" pitchFamily="34" charset="0"/>
                <a:cs typeface="Arial" panose="020B0604020202020204" pitchFamily="34" charset="0"/>
              </a:rPr>
              <a:t>Commitment Sought </a:t>
            </a:r>
            <a:r>
              <a:rPr lang="zh-TW" altLang="en-US" sz="2600">
                <a:latin typeface="Arial" panose="020B0604020202020204" pitchFamily="34" charset="0"/>
                <a:cs typeface="Arial" panose="020B0604020202020204" pitchFamily="34" charset="0"/>
              </a:rPr>
              <a:t>我們承諾</a:t>
            </a:r>
            <a:endParaRPr lang="en-IN" sz="2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965456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3ACB16E-1E5B-540D-9EAA-3E74DAEB48FB}"/>
              </a:ext>
            </a:extLst>
          </p:cNvPr>
          <p:cNvSpPr>
            <a:spLocks noGrp="1"/>
          </p:cNvSpPr>
          <p:nvPr>
            <p:ph type="sldNum" sz="quarter" idx="12"/>
          </p:nvPr>
        </p:nvSpPr>
        <p:spPr/>
        <p:txBody>
          <a:bodyPr/>
          <a:lstStyle/>
          <a:p>
            <a:fld id="{51845F5A-061D-4825-9AE9-D7794091C6CF}" type="slidenum">
              <a:rPr lang="en-US" smtClean="0"/>
              <a:t>26</a:t>
            </a:fld>
            <a:endParaRPr lang="en-US"/>
          </a:p>
        </p:txBody>
      </p:sp>
      <p:pic>
        <p:nvPicPr>
          <p:cNvPr id="6" name="Picture 5">
            <a:extLst>
              <a:ext uri="{FF2B5EF4-FFF2-40B4-BE49-F238E27FC236}">
                <a16:creationId xmlns:a16="http://schemas.microsoft.com/office/drawing/2014/main" id="{25E18AEB-DEFA-9C48-6890-D267331D033D}"/>
              </a:ext>
            </a:extLst>
          </p:cNvPr>
          <p:cNvPicPr>
            <a:picLocks noChangeAspect="1"/>
          </p:cNvPicPr>
          <p:nvPr/>
        </p:nvPicPr>
        <p:blipFill>
          <a:blip r:embed="rId3"/>
          <a:stretch>
            <a:fillRect/>
          </a:stretch>
        </p:blipFill>
        <p:spPr>
          <a:xfrm>
            <a:off x="-1" y="0"/>
            <a:ext cx="12202133" cy="6858000"/>
          </a:xfrm>
          <a:prstGeom prst="rect">
            <a:avLst/>
          </a:prstGeom>
        </p:spPr>
      </p:pic>
    </p:spTree>
    <p:extLst>
      <p:ext uri="{BB962C8B-B14F-4D97-AF65-F5344CB8AC3E}">
        <p14:creationId xmlns:p14="http://schemas.microsoft.com/office/powerpoint/2010/main" val="26298200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A365B-A8ED-A7BF-A4EC-F64FA7D2909E}"/>
              </a:ext>
            </a:extLst>
          </p:cNvPr>
          <p:cNvSpPr>
            <a:spLocks noGrp="1"/>
          </p:cNvSpPr>
          <p:nvPr>
            <p:ph type="title"/>
          </p:nvPr>
        </p:nvSpPr>
        <p:spPr/>
        <p:txBody>
          <a:bodyPr>
            <a:normAutofit fontScale="90000"/>
          </a:bodyPr>
          <a:lstStyle/>
          <a:p>
            <a:endParaRPr lang="en-US"/>
          </a:p>
        </p:txBody>
      </p:sp>
      <p:sp>
        <p:nvSpPr>
          <p:cNvPr id="3" name="Content Placeholder 2">
            <a:extLst>
              <a:ext uri="{FF2B5EF4-FFF2-40B4-BE49-F238E27FC236}">
                <a16:creationId xmlns:a16="http://schemas.microsoft.com/office/drawing/2014/main" id="{FA6AE805-8F54-913F-A8BC-2ED9173BD30A}"/>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977EE78C-0CFF-875F-E17B-C24EEC565E0F}"/>
              </a:ext>
            </a:extLst>
          </p:cNvPr>
          <p:cNvSpPr>
            <a:spLocks noGrp="1"/>
          </p:cNvSpPr>
          <p:nvPr>
            <p:ph type="sldNum" sz="quarter" idx="12"/>
          </p:nvPr>
        </p:nvSpPr>
        <p:spPr/>
        <p:txBody>
          <a:bodyPr/>
          <a:lstStyle/>
          <a:p>
            <a:fld id="{51845F5A-061D-4825-9AE9-D7794091C6CF}" type="slidenum">
              <a:rPr lang="en-US" smtClean="0"/>
              <a:t>27</a:t>
            </a:fld>
            <a:endParaRPr lang="en-US"/>
          </a:p>
        </p:txBody>
      </p:sp>
      <p:pic>
        <p:nvPicPr>
          <p:cNvPr id="6" name="Picture 5">
            <a:extLst>
              <a:ext uri="{FF2B5EF4-FFF2-40B4-BE49-F238E27FC236}">
                <a16:creationId xmlns:a16="http://schemas.microsoft.com/office/drawing/2014/main" id="{48246BFB-6D21-0D62-BE36-887452E4B6FD}"/>
              </a:ext>
            </a:extLst>
          </p:cNvPr>
          <p:cNvPicPr>
            <a:picLocks noChangeAspect="1"/>
          </p:cNvPicPr>
          <p:nvPr/>
        </p:nvPicPr>
        <p:blipFill>
          <a:blip r:embed="rId2"/>
          <a:stretch>
            <a:fillRect/>
          </a:stretch>
        </p:blipFill>
        <p:spPr>
          <a:xfrm>
            <a:off x="0" y="0"/>
            <a:ext cx="12192000" cy="6876835"/>
          </a:xfrm>
          <a:prstGeom prst="rect">
            <a:avLst/>
          </a:prstGeom>
        </p:spPr>
      </p:pic>
    </p:spTree>
    <p:extLst>
      <p:ext uri="{BB962C8B-B14F-4D97-AF65-F5344CB8AC3E}">
        <p14:creationId xmlns:p14="http://schemas.microsoft.com/office/powerpoint/2010/main" val="21893442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440BB15-FC73-DAC7-AD4C-D1FEBA6A60F5}"/>
              </a:ext>
            </a:extLst>
          </p:cNvPr>
          <p:cNvSpPr>
            <a:spLocks noGrp="1"/>
          </p:cNvSpPr>
          <p:nvPr>
            <p:ph type="sldNum" sz="quarter" idx="12"/>
          </p:nvPr>
        </p:nvSpPr>
        <p:spPr/>
        <p:txBody>
          <a:bodyPr/>
          <a:lstStyle/>
          <a:p>
            <a:fld id="{51845F5A-061D-4825-9AE9-D7794091C6CF}" type="slidenum">
              <a:rPr lang="en-US" smtClean="0"/>
              <a:t>28</a:t>
            </a:fld>
            <a:endParaRPr lang="en-US"/>
          </a:p>
        </p:txBody>
      </p:sp>
      <p:sp>
        <p:nvSpPr>
          <p:cNvPr id="5" name="Title 1">
            <a:extLst>
              <a:ext uri="{FF2B5EF4-FFF2-40B4-BE49-F238E27FC236}">
                <a16:creationId xmlns:a16="http://schemas.microsoft.com/office/drawing/2014/main" id="{A257D223-7C3F-E6E6-A9B4-67C6849BDE88}"/>
              </a:ext>
            </a:extLst>
          </p:cNvPr>
          <p:cNvSpPr>
            <a:spLocks noGrp="1"/>
          </p:cNvSpPr>
          <p:nvPr>
            <p:ph type="title"/>
          </p:nvPr>
        </p:nvSpPr>
        <p:spPr>
          <a:xfrm>
            <a:off x="446636" y="47941"/>
            <a:ext cx="9416143" cy="1256847"/>
          </a:xfrm>
        </p:spPr>
        <p:txBody>
          <a:bodyPr>
            <a:normAutofit/>
          </a:bodyPr>
          <a:lstStyle/>
          <a:p>
            <a:r>
              <a:rPr lang="en-IN" sz="2600">
                <a:latin typeface="Arial" panose="020B0604020202020204" pitchFamily="34" charset="0"/>
                <a:cs typeface="Arial" panose="020B0604020202020204" pitchFamily="34" charset="0"/>
              </a:rPr>
              <a:t>Environmental sustainability &amp; Impact</a:t>
            </a:r>
            <a:br>
              <a:rPr lang="en-IN" sz="2600">
                <a:latin typeface="Arial" panose="020B0604020202020204" pitchFamily="34" charset="0"/>
                <a:cs typeface="Arial" panose="020B0604020202020204" pitchFamily="34" charset="0"/>
              </a:rPr>
            </a:br>
            <a:r>
              <a:rPr lang="zh-TW" altLang="en-US" sz="2600">
                <a:latin typeface="Arial" panose="020B0604020202020204" pitchFamily="34" charset="0"/>
                <a:cs typeface="Arial" panose="020B0604020202020204" pitchFamily="34" charset="0"/>
              </a:rPr>
              <a:t>永續環境發展</a:t>
            </a:r>
            <a:br>
              <a:rPr lang="en-IN" sz="2600">
                <a:latin typeface="Arial" panose="020B0604020202020204" pitchFamily="34" charset="0"/>
                <a:cs typeface="Arial" panose="020B0604020202020204" pitchFamily="34" charset="0"/>
              </a:rPr>
            </a:br>
            <a:endParaRPr lang="en-IN" sz="26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8A6F73A1-CC27-FC83-94F8-2E0710DCCB68}"/>
              </a:ext>
            </a:extLst>
          </p:cNvPr>
          <p:cNvSpPr txBox="1"/>
          <p:nvPr/>
        </p:nvSpPr>
        <p:spPr>
          <a:xfrm>
            <a:off x="441194" y="1386633"/>
            <a:ext cx="3167743" cy="3785652"/>
          </a:xfrm>
          <a:prstGeom prst="rect">
            <a:avLst/>
          </a:prstGeom>
          <a:noFill/>
        </p:spPr>
        <p:txBody>
          <a:bodyPr wrap="square" rtlCol="0">
            <a:spAutoFit/>
          </a:bodyPr>
          <a:lstStyle/>
          <a:p>
            <a:pPr algn="ctr"/>
            <a:r>
              <a:rPr lang="en-IN" sz="2000" b="1">
                <a:latin typeface="Arial" panose="020B0604020202020204" pitchFamily="34" charset="0"/>
                <a:ea typeface="標楷體" panose="03000509000000000000" pitchFamily="65" charset="-120"/>
                <a:cs typeface="Arial" panose="020B0604020202020204" pitchFamily="34" charset="0"/>
              </a:rPr>
              <a:t>Minimising Environmental Impact</a:t>
            </a:r>
          </a:p>
          <a:p>
            <a:pPr algn="ctr"/>
            <a:endParaRPr lang="en-IN" sz="2000" b="1">
              <a:latin typeface="Arial" panose="020B0604020202020204" pitchFamily="34" charset="0"/>
              <a:ea typeface="標楷體" panose="03000509000000000000" pitchFamily="65" charset="-120"/>
              <a:cs typeface="Arial" panose="020B0604020202020204" pitchFamily="34" charset="0"/>
            </a:endParaRPr>
          </a:p>
          <a:p>
            <a:pPr algn="ctr"/>
            <a:r>
              <a:rPr lang="zh-TW" altLang="en-US" sz="2000" b="1">
                <a:latin typeface="Arial" panose="020B0604020202020204" pitchFamily="34" charset="0"/>
                <a:ea typeface="標楷體" panose="03000509000000000000" pitchFamily="65" charset="-120"/>
                <a:cs typeface="Arial" panose="020B0604020202020204" pitchFamily="34" charset="0"/>
              </a:rPr>
              <a:t>對環境的影響最小化</a:t>
            </a:r>
            <a:endParaRPr lang="en-IN" sz="2000" b="1">
              <a:latin typeface="Arial" panose="020B0604020202020204" pitchFamily="34" charset="0"/>
              <a:ea typeface="標楷體" panose="03000509000000000000" pitchFamily="65" charset="-120"/>
              <a:cs typeface="Arial" panose="020B0604020202020204" pitchFamily="34" charset="0"/>
            </a:endParaRPr>
          </a:p>
          <a:p>
            <a:endParaRPr lang="en-IN" sz="2000">
              <a:latin typeface="Arial" panose="020B0604020202020204" pitchFamily="34" charset="0"/>
              <a:ea typeface="標楷體" panose="03000509000000000000" pitchFamily="65" charset="-120"/>
              <a:cs typeface="Arial" panose="020B0604020202020204" pitchFamily="34" charset="0"/>
            </a:endParaRPr>
          </a:p>
          <a:p>
            <a:endParaRPr lang="en-IN" sz="2000">
              <a:latin typeface="Arial" panose="020B0604020202020204" pitchFamily="34" charset="0"/>
              <a:ea typeface="標楷體" panose="03000509000000000000" pitchFamily="65" charset="-120"/>
              <a:cs typeface="Arial" panose="020B0604020202020204" pitchFamily="34" charset="0"/>
            </a:endParaRPr>
          </a:p>
          <a:p>
            <a:r>
              <a:rPr lang="zh-TW" altLang="en-US" sz="2000">
                <a:latin typeface="Arial" panose="020B0604020202020204" pitchFamily="34" charset="0"/>
                <a:ea typeface="標楷體" panose="03000509000000000000" pitchFamily="65" charset="-120"/>
                <a:cs typeface="Arial" panose="020B0604020202020204" pitchFamily="34" charset="0"/>
              </a:rPr>
              <a:t>公司致力於將環境影響降至最低並獲得環境許可，這反映了公司對永續環境的積極態度。</a:t>
            </a:r>
          </a:p>
          <a:p>
            <a:endParaRPr lang="zh-TW" altLang="en-US" sz="2000">
              <a:latin typeface="Arial" panose="020B0604020202020204" pitchFamily="34" charset="0"/>
              <a:ea typeface="標楷體" panose="03000509000000000000" pitchFamily="65" charset="-120"/>
              <a:cs typeface="Arial" panose="020B0604020202020204" pitchFamily="34" charset="0"/>
            </a:endParaRPr>
          </a:p>
          <a:p>
            <a:endParaRPr lang="en-IN" sz="2000">
              <a:latin typeface="Arial" panose="020B0604020202020204" pitchFamily="34" charset="0"/>
              <a:ea typeface="標楷體" panose="03000509000000000000" pitchFamily="65" charset="-120"/>
              <a:cs typeface="Arial" panose="020B0604020202020204" pitchFamily="34" charset="0"/>
            </a:endParaRPr>
          </a:p>
        </p:txBody>
      </p:sp>
      <p:sp>
        <p:nvSpPr>
          <p:cNvPr id="7" name="TextBox 6">
            <a:extLst>
              <a:ext uri="{FF2B5EF4-FFF2-40B4-BE49-F238E27FC236}">
                <a16:creationId xmlns:a16="http://schemas.microsoft.com/office/drawing/2014/main" id="{E8472FF0-0DD9-2162-2428-CB1C99232BE6}"/>
              </a:ext>
            </a:extLst>
          </p:cNvPr>
          <p:cNvSpPr txBox="1"/>
          <p:nvPr/>
        </p:nvSpPr>
        <p:spPr>
          <a:xfrm>
            <a:off x="4360051" y="1478966"/>
            <a:ext cx="3374572" cy="3693319"/>
          </a:xfrm>
          <a:prstGeom prst="rect">
            <a:avLst/>
          </a:prstGeom>
          <a:noFill/>
        </p:spPr>
        <p:txBody>
          <a:bodyPr wrap="square" rtlCol="0">
            <a:spAutoFit/>
          </a:bodyPr>
          <a:lstStyle/>
          <a:p>
            <a:pPr algn="ctr"/>
            <a:r>
              <a:rPr lang="en-US" sz="2000" b="1">
                <a:latin typeface="Arial" panose="020B0604020202020204" pitchFamily="34" charset="0"/>
                <a:ea typeface="標楷體" panose="03000509000000000000" pitchFamily="65" charset="-120"/>
                <a:cs typeface="Arial" panose="020B0604020202020204" pitchFamily="34" charset="0"/>
              </a:rPr>
              <a:t>Resource conservation</a:t>
            </a:r>
          </a:p>
          <a:p>
            <a:pPr algn="ctr"/>
            <a:endParaRPr lang="en-US" sz="2000" b="1">
              <a:latin typeface="Arial" panose="020B0604020202020204" pitchFamily="34" charset="0"/>
              <a:ea typeface="標楷體" panose="03000509000000000000" pitchFamily="65" charset="-120"/>
              <a:cs typeface="Arial" panose="020B0604020202020204" pitchFamily="34" charset="0"/>
            </a:endParaRPr>
          </a:p>
          <a:p>
            <a:pPr algn="ctr"/>
            <a:r>
              <a:rPr lang="zh-TW" altLang="en-US" sz="2000" b="1">
                <a:latin typeface="Arial" panose="020B0604020202020204" pitchFamily="34" charset="0"/>
                <a:ea typeface="標楷體" panose="03000509000000000000" pitchFamily="65" charset="-120"/>
                <a:cs typeface="Arial" panose="020B0604020202020204" pitchFamily="34" charset="0"/>
              </a:rPr>
              <a:t>節約資源</a:t>
            </a:r>
            <a:endParaRPr lang="en-US" sz="2000">
              <a:latin typeface="Arial" panose="020B0604020202020204" pitchFamily="34" charset="0"/>
              <a:ea typeface="標楷體" panose="03000509000000000000" pitchFamily="65" charset="-120"/>
              <a:cs typeface="Arial" panose="020B0604020202020204" pitchFamily="34" charset="0"/>
            </a:endParaRPr>
          </a:p>
          <a:p>
            <a:endParaRPr lang="en-US" sz="2000">
              <a:latin typeface="Arial" panose="020B0604020202020204" pitchFamily="34" charset="0"/>
              <a:ea typeface="標楷體" panose="03000509000000000000" pitchFamily="65" charset="-120"/>
              <a:cs typeface="Arial" panose="020B0604020202020204" pitchFamily="34" charset="0"/>
            </a:endParaRPr>
          </a:p>
          <a:p>
            <a:endParaRPr lang="en-US" sz="2000">
              <a:latin typeface="Arial" panose="020B0604020202020204" pitchFamily="34" charset="0"/>
              <a:ea typeface="標楷體" panose="03000509000000000000" pitchFamily="65" charset="-120"/>
              <a:cs typeface="Arial" panose="020B0604020202020204" pitchFamily="34" charset="0"/>
            </a:endParaRPr>
          </a:p>
          <a:p>
            <a:pPr>
              <a:buFont typeface="Arial" panose="020B0604020202020204" pitchFamily="34" charset="0"/>
              <a:buChar char="•"/>
            </a:pPr>
            <a:endParaRPr lang="en-US" sz="1600">
              <a:latin typeface="Arial" panose="020B0604020202020204" pitchFamily="34" charset="0"/>
              <a:ea typeface="標楷體" panose="03000509000000000000" pitchFamily="65" charset="-120"/>
              <a:cs typeface="Arial" panose="020B0604020202020204" pitchFamily="34" charset="0"/>
            </a:endParaRPr>
          </a:p>
          <a:p>
            <a:r>
              <a:rPr lang="zh-TW" altLang="en-US" sz="2000">
                <a:latin typeface="Arial" panose="020B0604020202020204" pitchFamily="34" charset="0"/>
                <a:ea typeface="標楷體" panose="03000509000000000000" pitchFamily="65" charset="-120"/>
                <a:cs typeface="Arial" panose="020B0604020202020204" pitchFamily="34" charset="0"/>
              </a:rPr>
              <a:t>通過節約資源和跟蹤能源和資源消耗，公司與對永續資源管理的日益重視保持一致。</a:t>
            </a:r>
          </a:p>
          <a:p>
            <a:endParaRPr lang="en-US" sz="2000">
              <a:latin typeface="Arial" panose="020B0604020202020204" pitchFamily="34" charset="0"/>
              <a:ea typeface="標楷體" panose="03000509000000000000" pitchFamily="65" charset="-120"/>
              <a:cs typeface="Arial" panose="020B0604020202020204" pitchFamily="34" charset="0"/>
            </a:endParaRPr>
          </a:p>
          <a:p>
            <a:endParaRPr lang="en-IN" sz="2000">
              <a:latin typeface="Arial" panose="020B0604020202020204" pitchFamily="34" charset="0"/>
              <a:ea typeface="標楷體" panose="03000509000000000000" pitchFamily="65" charset="-120"/>
              <a:cs typeface="Arial" panose="020B0604020202020204" pitchFamily="34" charset="0"/>
            </a:endParaRPr>
          </a:p>
          <a:p>
            <a:endParaRPr lang="en-IN" sz="2000">
              <a:latin typeface="Arial" panose="020B0604020202020204" pitchFamily="34" charset="0"/>
              <a:ea typeface="標楷體" panose="03000509000000000000" pitchFamily="65" charset="-120"/>
              <a:cs typeface="Arial" panose="020B0604020202020204" pitchFamily="34" charset="0"/>
            </a:endParaRPr>
          </a:p>
        </p:txBody>
      </p:sp>
      <p:sp>
        <p:nvSpPr>
          <p:cNvPr id="8" name="TextBox 7">
            <a:extLst>
              <a:ext uri="{FF2B5EF4-FFF2-40B4-BE49-F238E27FC236}">
                <a16:creationId xmlns:a16="http://schemas.microsoft.com/office/drawing/2014/main" id="{46DF8E80-8B6C-C966-7D56-D415C0BA71C9}"/>
              </a:ext>
            </a:extLst>
          </p:cNvPr>
          <p:cNvSpPr txBox="1"/>
          <p:nvPr/>
        </p:nvSpPr>
        <p:spPr>
          <a:xfrm>
            <a:off x="8268026" y="1478966"/>
            <a:ext cx="3167741" cy="3170099"/>
          </a:xfrm>
          <a:prstGeom prst="rect">
            <a:avLst/>
          </a:prstGeom>
          <a:noFill/>
        </p:spPr>
        <p:txBody>
          <a:bodyPr wrap="square">
            <a:spAutoFit/>
          </a:bodyPr>
          <a:lstStyle/>
          <a:p>
            <a:pPr algn="ctr"/>
            <a:r>
              <a:rPr lang="en-US" sz="2000" b="1">
                <a:latin typeface="Arial" panose="020B0604020202020204" pitchFamily="34" charset="0"/>
                <a:ea typeface="標楷體" panose="03000509000000000000" pitchFamily="65" charset="-120"/>
                <a:cs typeface="Arial" panose="020B0604020202020204" pitchFamily="34" charset="0"/>
              </a:rPr>
              <a:t>Pollution Prevention</a:t>
            </a:r>
          </a:p>
          <a:p>
            <a:pPr algn="ctr"/>
            <a:endParaRPr lang="en-US" sz="2000" b="1">
              <a:latin typeface="Arial" panose="020B0604020202020204" pitchFamily="34" charset="0"/>
              <a:ea typeface="標楷體" panose="03000509000000000000" pitchFamily="65" charset="-120"/>
              <a:cs typeface="Arial" panose="020B0604020202020204" pitchFamily="34" charset="0"/>
            </a:endParaRPr>
          </a:p>
          <a:p>
            <a:pPr algn="ctr"/>
            <a:r>
              <a:rPr lang="zh-TW" altLang="en-US" sz="2000" b="1">
                <a:latin typeface="Arial" panose="020B0604020202020204" pitchFamily="34" charset="0"/>
                <a:ea typeface="標楷體" panose="03000509000000000000" pitchFamily="65" charset="-120"/>
                <a:cs typeface="Arial" panose="020B0604020202020204" pitchFamily="34" charset="0"/>
              </a:rPr>
              <a:t>污染防治</a:t>
            </a:r>
            <a:endParaRPr lang="en-US" sz="2000" b="1">
              <a:latin typeface="Arial" panose="020B0604020202020204" pitchFamily="34" charset="0"/>
              <a:ea typeface="標楷體" panose="03000509000000000000" pitchFamily="65" charset="-120"/>
              <a:cs typeface="Arial" panose="020B0604020202020204" pitchFamily="34" charset="0"/>
            </a:endParaRPr>
          </a:p>
          <a:p>
            <a:pPr>
              <a:buFont typeface="Arial" panose="020B0604020202020204" pitchFamily="34" charset="0"/>
              <a:buChar char="•"/>
            </a:pPr>
            <a:endParaRPr lang="en-US" sz="2000">
              <a:latin typeface="Arial" panose="020B0604020202020204" pitchFamily="34" charset="0"/>
              <a:ea typeface="標楷體" panose="03000509000000000000" pitchFamily="65" charset="-120"/>
              <a:cs typeface="Arial" panose="020B0604020202020204" pitchFamily="34" charset="0"/>
            </a:endParaRPr>
          </a:p>
          <a:p>
            <a:endParaRPr lang="en-US" sz="2000">
              <a:latin typeface="Arial" panose="020B0604020202020204" pitchFamily="34" charset="0"/>
              <a:ea typeface="標楷體" panose="03000509000000000000" pitchFamily="65" charset="-120"/>
              <a:cs typeface="Arial" panose="020B0604020202020204" pitchFamily="34" charset="0"/>
            </a:endParaRPr>
          </a:p>
          <a:p>
            <a:endParaRPr lang="en-US" sz="2000">
              <a:latin typeface="Arial" panose="020B0604020202020204" pitchFamily="34" charset="0"/>
              <a:ea typeface="標楷體" panose="03000509000000000000" pitchFamily="65" charset="-120"/>
              <a:cs typeface="Arial" panose="020B0604020202020204" pitchFamily="34" charset="0"/>
            </a:endParaRPr>
          </a:p>
          <a:p>
            <a:r>
              <a:rPr lang="zh-TW" altLang="en-US" sz="2000">
                <a:latin typeface="Arial" panose="020B0604020202020204" pitchFamily="34" charset="0"/>
                <a:ea typeface="標楷體" panose="03000509000000000000" pitchFamily="65" charset="-120"/>
                <a:cs typeface="Arial" panose="020B0604020202020204" pitchFamily="34" charset="0"/>
              </a:rPr>
              <a:t>公司專注於污染防治和控制廢水和空氣排放，這表明對環境管理的承諾。</a:t>
            </a:r>
            <a:endParaRPr lang="en-US" altLang="zh-TW" sz="2000">
              <a:latin typeface="Arial" panose="020B0604020202020204" pitchFamily="34" charset="0"/>
              <a:ea typeface="標楷體" panose="03000509000000000000" pitchFamily="65" charset="-120"/>
              <a:cs typeface="Arial" panose="020B0604020202020204" pitchFamily="34" charset="0"/>
            </a:endParaRPr>
          </a:p>
          <a:p>
            <a:endParaRPr lang="en-US" sz="2000">
              <a:latin typeface="Arial" panose="020B0604020202020204" pitchFamily="34" charset="0"/>
              <a:ea typeface="標楷體" panose="03000509000000000000" pitchFamily="65" charset="-120"/>
              <a:cs typeface="Arial" panose="020B0604020202020204" pitchFamily="34" charset="0"/>
            </a:endParaRPr>
          </a:p>
        </p:txBody>
      </p:sp>
      <p:cxnSp>
        <p:nvCxnSpPr>
          <p:cNvPr id="9" name="Straight Connector 8">
            <a:extLst>
              <a:ext uri="{FF2B5EF4-FFF2-40B4-BE49-F238E27FC236}">
                <a16:creationId xmlns:a16="http://schemas.microsoft.com/office/drawing/2014/main" id="{EABB5F2E-35EF-98D7-7C6C-3C248B8FEB64}"/>
              </a:ext>
            </a:extLst>
          </p:cNvPr>
          <p:cNvCxnSpPr>
            <a:cxnSpLocks/>
          </p:cNvCxnSpPr>
          <p:nvPr/>
        </p:nvCxnSpPr>
        <p:spPr>
          <a:xfrm>
            <a:off x="180260" y="2732027"/>
            <a:ext cx="3571182"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BBD998D-497E-A344-4E9B-E88CBB8410DC}"/>
              </a:ext>
            </a:extLst>
          </p:cNvPr>
          <p:cNvCxnSpPr>
            <a:cxnSpLocks/>
          </p:cNvCxnSpPr>
          <p:nvPr/>
        </p:nvCxnSpPr>
        <p:spPr>
          <a:xfrm>
            <a:off x="4163441" y="2732027"/>
            <a:ext cx="3571182"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32F6645-6466-9C21-9D1D-5472BC8066DE}"/>
              </a:ext>
            </a:extLst>
          </p:cNvPr>
          <p:cNvCxnSpPr>
            <a:cxnSpLocks/>
          </p:cNvCxnSpPr>
          <p:nvPr/>
        </p:nvCxnSpPr>
        <p:spPr>
          <a:xfrm>
            <a:off x="8010387" y="2732027"/>
            <a:ext cx="3571182" cy="0"/>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5C30FA7-181D-3563-3123-C8F6F3F7AEAB}"/>
              </a:ext>
            </a:extLst>
          </p:cNvPr>
          <p:cNvPicPr>
            <a:picLocks noChangeAspect="1"/>
          </p:cNvPicPr>
          <p:nvPr/>
        </p:nvPicPr>
        <p:blipFill>
          <a:blip r:embed="rId3"/>
          <a:stretch>
            <a:fillRect/>
          </a:stretch>
        </p:blipFill>
        <p:spPr>
          <a:xfrm>
            <a:off x="140360" y="4654531"/>
            <a:ext cx="4219691" cy="2155528"/>
          </a:xfrm>
          <a:prstGeom prst="rect">
            <a:avLst/>
          </a:prstGeom>
        </p:spPr>
      </p:pic>
    </p:spTree>
    <p:extLst>
      <p:ext uri="{BB962C8B-B14F-4D97-AF65-F5344CB8AC3E}">
        <p14:creationId xmlns:p14="http://schemas.microsoft.com/office/powerpoint/2010/main" val="4313486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F0EBAA4-EC40-4DCE-71E0-434F8664E1DE}"/>
              </a:ext>
            </a:extLst>
          </p:cNvPr>
          <p:cNvPicPr>
            <a:picLocks noChangeAspect="1"/>
          </p:cNvPicPr>
          <p:nvPr/>
        </p:nvPicPr>
        <p:blipFill>
          <a:blip r:embed="rId3"/>
          <a:stretch>
            <a:fillRect/>
          </a:stretch>
        </p:blipFill>
        <p:spPr>
          <a:xfrm>
            <a:off x="9154886" y="5198245"/>
            <a:ext cx="3078296" cy="1659755"/>
          </a:xfrm>
          <a:prstGeom prst="rect">
            <a:avLst/>
          </a:prstGeom>
          <a:ln>
            <a:noFill/>
          </a:ln>
          <a:effectLst>
            <a:softEdge rad="112500"/>
          </a:effectLst>
        </p:spPr>
      </p:pic>
      <p:sp>
        <p:nvSpPr>
          <p:cNvPr id="8" name="TextBox 7">
            <a:extLst>
              <a:ext uri="{FF2B5EF4-FFF2-40B4-BE49-F238E27FC236}">
                <a16:creationId xmlns:a16="http://schemas.microsoft.com/office/drawing/2014/main" id="{A21169FC-39E8-D3B8-ECC5-EE929AA6BA76}"/>
              </a:ext>
            </a:extLst>
          </p:cNvPr>
          <p:cNvSpPr txBox="1"/>
          <p:nvPr/>
        </p:nvSpPr>
        <p:spPr>
          <a:xfrm>
            <a:off x="2092699" y="5729560"/>
            <a:ext cx="5626827" cy="523220"/>
          </a:xfrm>
          <a:prstGeom prst="rect">
            <a:avLst/>
          </a:prstGeom>
          <a:noFill/>
        </p:spPr>
        <p:txBody>
          <a:bodyPr wrap="square">
            <a:spAutoFit/>
          </a:bodyPr>
          <a:lstStyle/>
          <a:p>
            <a:r>
              <a:rPr lang="zh-TW" altLang="en-US" sz="2800" b="1" i="1">
                <a:latin typeface="Arial"/>
                <a:ea typeface="標楷體"/>
                <a:cs typeface="Arial"/>
              </a:rPr>
              <a:t>所有商業交易皆以道德誠信為宗旨</a:t>
            </a:r>
            <a:endParaRPr lang="en-US" sz="2800" i="1"/>
          </a:p>
        </p:txBody>
      </p:sp>
      <p:sp>
        <p:nvSpPr>
          <p:cNvPr id="11" name="Title 1">
            <a:extLst>
              <a:ext uri="{FF2B5EF4-FFF2-40B4-BE49-F238E27FC236}">
                <a16:creationId xmlns:a16="http://schemas.microsoft.com/office/drawing/2014/main" id="{45C5C7BE-F4DA-A0F0-EA8A-1ED22BFC49AE}"/>
              </a:ext>
            </a:extLst>
          </p:cNvPr>
          <p:cNvSpPr txBox="1">
            <a:spLocks/>
          </p:cNvSpPr>
          <p:nvPr/>
        </p:nvSpPr>
        <p:spPr>
          <a:xfrm>
            <a:off x="594359" y="464140"/>
            <a:ext cx="7421232" cy="636361"/>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4000" b="0" kern="1200">
                <a:solidFill>
                  <a:schemeClr val="tx1"/>
                </a:solidFill>
                <a:latin typeface="+mj-lt"/>
                <a:ea typeface="+mj-ea"/>
                <a:cs typeface="+mj-cs"/>
              </a:defRPr>
            </a:lvl1pPr>
          </a:lstStyle>
          <a:p>
            <a:r>
              <a:rPr lang="en-IN" sz="2800">
                <a:latin typeface="Arial" panose="020B0604020202020204" pitchFamily="34" charset="0"/>
                <a:ea typeface="標楷體" panose="03000509000000000000" pitchFamily="65" charset="-120"/>
                <a:cs typeface="Arial" panose="020B0604020202020204" pitchFamily="34" charset="0"/>
              </a:rPr>
              <a:t>Ethical standards and Transparency</a:t>
            </a:r>
            <a:br>
              <a:rPr lang="en-IN" sz="2800">
                <a:latin typeface="Arial" panose="020B0604020202020204" pitchFamily="34" charset="0"/>
                <a:ea typeface="標楷體" panose="03000509000000000000" pitchFamily="65" charset="-120"/>
                <a:cs typeface="Arial" panose="020B0604020202020204" pitchFamily="34" charset="0"/>
              </a:rPr>
            </a:br>
            <a:r>
              <a:rPr lang="zh-TW" altLang="en-US" sz="2800">
                <a:latin typeface="Arial" panose="020B0604020202020204" pitchFamily="34" charset="0"/>
                <a:ea typeface="標楷體" panose="03000509000000000000" pitchFamily="65" charset="-120"/>
                <a:cs typeface="Arial" panose="020B0604020202020204" pitchFamily="34" charset="0"/>
              </a:rPr>
              <a:t>道德標準和透明度</a:t>
            </a:r>
            <a:endParaRPr lang="en-IN" sz="2800">
              <a:latin typeface="Arial" panose="020B0604020202020204" pitchFamily="34" charset="0"/>
              <a:ea typeface="標楷體" panose="03000509000000000000" pitchFamily="65" charset="-120"/>
              <a:cs typeface="Arial" panose="020B0604020202020204" pitchFamily="34" charset="0"/>
            </a:endParaRPr>
          </a:p>
        </p:txBody>
      </p:sp>
      <p:sp>
        <p:nvSpPr>
          <p:cNvPr id="14" name="Content Placeholder 2">
            <a:extLst>
              <a:ext uri="{FF2B5EF4-FFF2-40B4-BE49-F238E27FC236}">
                <a16:creationId xmlns:a16="http://schemas.microsoft.com/office/drawing/2014/main" id="{06BFE986-F89F-D179-25BB-61D92EF8E1CD}"/>
              </a:ext>
            </a:extLst>
          </p:cNvPr>
          <p:cNvSpPr>
            <a:spLocks noGrp="1"/>
          </p:cNvSpPr>
          <p:nvPr>
            <p:ph idx="1"/>
          </p:nvPr>
        </p:nvSpPr>
        <p:spPr>
          <a:xfrm>
            <a:off x="526265" y="1430546"/>
            <a:ext cx="9765600" cy="3968969"/>
          </a:xfrm>
        </p:spPr>
        <p:txBody>
          <a:bodyPr>
            <a:normAutofit/>
          </a:bodyPr>
          <a:lstStyle/>
          <a:p>
            <a:r>
              <a:rPr lang="zh-TW" altLang="en-US" sz="2800" b="1">
                <a:latin typeface="標楷體" panose="03000509000000000000" pitchFamily="65" charset="-120"/>
                <a:ea typeface="標楷體" panose="03000509000000000000" pitchFamily="65" charset="-120"/>
              </a:rPr>
              <a:t>資訊披露的透明度</a:t>
            </a:r>
          </a:p>
          <a:p>
            <a:pPr marL="457200" lvl="1" indent="0">
              <a:buNone/>
            </a:pPr>
            <a:r>
              <a:rPr lang="zh-TW" altLang="en-US" sz="2400">
                <a:latin typeface="標楷體" panose="03000509000000000000" pitchFamily="65" charset="-120"/>
                <a:ea typeface="標楷體" panose="03000509000000000000" pitchFamily="65" charset="-120"/>
              </a:rPr>
              <a:t>公司致力於資訊披露的透明度以及與審計機構的合作，這反映了對道德商業行為和問責制的專注。</a:t>
            </a:r>
            <a:endParaRPr lang="en-IN" sz="1400" b="1">
              <a:latin typeface="標楷體" panose="03000509000000000000" pitchFamily="65" charset="-120"/>
              <a:ea typeface="標楷體" panose="03000509000000000000" pitchFamily="65" charset="-120"/>
            </a:endParaRPr>
          </a:p>
          <a:p>
            <a:r>
              <a:rPr lang="zh-TW" altLang="en-US" sz="2800" b="1">
                <a:latin typeface="標楷體" panose="03000509000000000000" pitchFamily="65" charset="-120"/>
                <a:ea typeface="標楷體" panose="03000509000000000000" pitchFamily="65" charset="-120"/>
              </a:rPr>
              <a:t>知識產權保護</a:t>
            </a:r>
            <a:endParaRPr lang="en-US" sz="2400" b="1">
              <a:latin typeface="標楷體" panose="03000509000000000000" pitchFamily="65" charset="-120"/>
              <a:ea typeface="標楷體" panose="03000509000000000000" pitchFamily="65" charset="-120"/>
            </a:endParaRPr>
          </a:p>
          <a:p>
            <a:pPr marL="457200" lvl="1" indent="0">
              <a:buNone/>
            </a:pPr>
            <a:r>
              <a:rPr lang="zh-TW" altLang="en-US" sz="2400">
                <a:latin typeface="標楷體" panose="03000509000000000000" pitchFamily="65" charset="-120"/>
                <a:ea typeface="標楷體" panose="03000509000000000000" pitchFamily="65" charset="-120"/>
              </a:rPr>
              <a:t>尊重智慧財產權和資訊保密性表明公司對維護道德標準和保護專有信息的承諾。</a:t>
            </a:r>
            <a:endParaRPr lang="en-US">
              <a:latin typeface="標楷體" panose="03000509000000000000" pitchFamily="65" charset="-120"/>
              <a:ea typeface="標楷體" panose="03000509000000000000" pitchFamily="65" charset="-120"/>
            </a:endParaRPr>
          </a:p>
          <a:p>
            <a:r>
              <a:rPr lang="zh-TW" altLang="en-US" sz="2800" b="1">
                <a:latin typeface="標楷體" panose="03000509000000000000" pitchFamily="65" charset="-120"/>
                <a:ea typeface="標楷體" panose="03000509000000000000" pitchFamily="65" charset="-120"/>
              </a:rPr>
              <a:t>避免利益衝突</a:t>
            </a:r>
            <a:endParaRPr lang="en-US" sz="1600" b="1">
              <a:latin typeface="標楷體" panose="03000509000000000000" pitchFamily="65" charset="-120"/>
              <a:ea typeface="標楷體" panose="03000509000000000000" pitchFamily="65" charset="-120"/>
            </a:endParaRPr>
          </a:p>
          <a:p>
            <a:pPr marL="457200" lvl="1" indent="0">
              <a:buNone/>
            </a:pPr>
            <a:r>
              <a:rPr lang="zh-TW" altLang="en-US" sz="2400">
                <a:latin typeface="標楷體" panose="03000509000000000000" pitchFamily="65" charset="-120"/>
                <a:ea typeface="標楷體" panose="03000509000000000000" pitchFamily="65" charset="-120"/>
              </a:rPr>
              <a:t>公司致力於避免利益衝突，體現了對道德商業實踐和誠信的專注。</a:t>
            </a:r>
            <a:endParaRPr lang="en-US" sz="2400">
              <a:latin typeface="標楷體" panose="03000509000000000000" pitchFamily="65" charset="-120"/>
              <a:ea typeface="標楷體" panose="03000509000000000000" pitchFamily="65" charset="-120"/>
            </a:endParaRPr>
          </a:p>
          <a:p>
            <a:endParaRPr lang="en-US" sz="1600">
              <a:latin typeface="標楷體" panose="03000509000000000000" pitchFamily="65" charset="-120"/>
              <a:ea typeface="標楷體" panose="03000509000000000000" pitchFamily="65" charset="-120"/>
            </a:endParaRPr>
          </a:p>
          <a:p>
            <a:endParaRPr lang="en-US" sz="1600">
              <a:latin typeface="標楷體" panose="03000509000000000000" pitchFamily="65" charset="-120"/>
              <a:ea typeface="標楷體" panose="03000509000000000000" pitchFamily="65" charset="-120"/>
            </a:endParaRPr>
          </a:p>
          <a:p>
            <a:endParaRPr lang="en-US" sz="1600">
              <a:latin typeface="標楷體" panose="03000509000000000000" pitchFamily="65" charset="-120"/>
              <a:ea typeface="標楷體" panose="03000509000000000000" pitchFamily="65" charset="-120"/>
            </a:endParaRPr>
          </a:p>
          <a:p>
            <a:endParaRPr lang="en-IN" sz="1600">
              <a:latin typeface="標楷體" panose="03000509000000000000" pitchFamily="65" charset="-120"/>
              <a:ea typeface="標楷體" panose="03000509000000000000" pitchFamily="65" charset="-120"/>
            </a:endParaRPr>
          </a:p>
          <a:p>
            <a:endParaRPr lang="en-IN" sz="1600">
              <a:latin typeface="標楷體" panose="03000509000000000000" pitchFamily="65" charset="-120"/>
              <a:ea typeface="標楷體" panose="03000509000000000000" pitchFamily="65" charset="-120"/>
            </a:endParaRPr>
          </a:p>
          <a:p>
            <a:endParaRPr lang="en-IN" sz="1600">
              <a:latin typeface="標楷體" panose="03000509000000000000" pitchFamily="65" charset="-120"/>
              <a:ea typeface="標楷體" panose="03000509000000000000" pitchFamily="65" charset="-120"/>
            </a:endParaRPr>
          </a:p>
        </p:txBody>
      </p:sp>
    </p:spTree>
    <p:extLst>
      <p:ext uri="{BB962C8B-B14F-4D97-AF65-F5344CB8AC3E}">
        <p14:creationId xmlns:p14="http://schemas.microsoft.com/office/powerpoint/2010/main" val="34938744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E1A8335-917F-4F2C-CE73-130D8D7BC229}"/>
              </a:ext>
            </a:extLst>
          </p:cNvPr>
          <p:cNvSpPr>
            <a:spLocks noGrp="1"/>
          </p:cNvSpPr>
          <p:nvPr>
            <p:ph type="title"/>
          </p:nvPr>
        </p:nvSpPr>
        <p:spPr>
          <a:xfrm>
            <a:off x="598311" y="794446"/>
            <a:ext cx="9504181" cy="360099"/>
          </a:xfrm>
        </p:spPr>
        <p:txBody>
          <a:bodyPr>
            <a:normAutofit fontScale="90000"/>
          </a:bodyPr>
          <a:lstStyle/>
          <a:p>
            <a:r>
              <a:rPr lang="en-US"/>
              <a:t>Meeting Agenda</a:t>
            </a:r>
          </a:p>
        </p:txBody>
      </p:sp>
      <p:sp>
        <p:nvSpPr>
          <p:cNvPr id="8" name="Content Placeholder 2">
            <a:extLst>
              <a:ext uri="{FF2B5EF4-FFF2-40B4-BE49-F238E27FC236}">
                <a16:creationId xmlns:a16="http://schemas.microsoft.com/office/drawing/2014/main" id="{0CC0BC93-FAE7-3F66-DB1F-AB053AE3CBA5}"/>
              </a:ext>
            </a:extLst>
          </p:cNvPr>
          <p:cNvSpPr>
            <a:spLocks noGrp="1"/>
          </p:cNvSpPr>
          <p:nvPr>
            <p:ph idx="1"/>
          </p:nvPr>
        </p:nvSpPr>
        <p:spPr>
          <a:xfrm>
            <a:off x="3791865" y="1772235"/>
            <a:ext cx="8400135" cy="3313529"/>
          </a:xfrm>
        </p:spPr>
        <p:txBody>
          <a:bodyPr vert="horz" lIns="91440" tIns="45720" rIns="91440" bIns="45720" rtlCol="0" anchor="t">
            <a:normAutofit/>
          </a:bodyPr>
          <a:lstStyle/>
          <a:p>
            <a:pPr>
              <a:buFont typeface="Wingdings"/>
              <a:buChar char="§"/>
            </a:pPr>
            <a:r>
              <a:rPr lang="zh-TW" altLang="en-US" sz="2000" b="0" i="0" dirty="0">
                <a:solidFill>
                  <a:srgbClr val="111111"/>
                </a:solidFill>
                <a:effectLst/>
                <a:latin typeface="-apple-system"/>
              </a:rPr>
              <a:t>會議開幕</a:t>
            </a:r>
            <a:r>
              <a:rPr lang="zh-TW" altLang="en-US" sz="2000" dirty="0">
                <a:solidFill>
                  <a:srgbClr val="111111"/>
                </a:solidFill>
                <a:latin typeface="-apple-system"/>
              </a:rPr>
              <a:t> </a:t>
            </a:r>
            <a:r>
              <a:rPr lang="en-US" altLang="zh-TW" sz="2000" b="1" dirty="0"/>
              <a:t>Opening of Conference by Ella Tsai</a:t>
            </a:r>
          </a:p>
          <a:p>
            <a:pPr>
              <a:buFont typeface="Wingdings"/>
              <a:buChar char="§"/>
            </a:pPr>
            <a:r>
              <a:rPr lang="zh-TW" altLang="en-US" sz="2000" b="0" i="0" dirty="0">
                <a:solidFill>
                  <a:srgbClr val="111111"/>
                </a:solidFill>
                <a:effectLst/>
                <a:latin typeface="-apple-system"/>
              </a:rPr>
              <a:t>法規要求</a:t>
            </a:r>
            <a:r>
              <a:rPr lang="zh-TW" altLang="en-US" sz="2000" dirty="0">
                <a:solidFill>
                  <a:srgbClr val="111111"/>
                </a:solidFill>
                <a:latin typeface="-apple-system"/>
              </a:rPr>
              <a:t> </a:t>
            </a:r>
            <a:r>
              <a:rPr lang="en-US" altLang="zh-TW" sz="2000" b="1" dirty="0"/>
              <a:t>Regulatory Expectations by Winnie Chen</a:t>
            </a:r>
          </a:p>
          <a:p>
            <a:pPr>
              <a:buFont typeface="Wingdings"/>
              <a:buChar char="§"/>
            </a:pPr>
            <a:r>
              <a:rPr lang="zh-TW" altLang="en-US" sz="2000" dirty="0">
                <a:solidFill>
                  <a:srgbClr val="111111"/>
                </a:solidFill>
                <a:latin typeface="-apple-system"/>
              </a:rPr>
              <a:t>資訊安全 </a:t>
            </a:r>
            <a:r>
              <a:rPr lang="en-US" altLang="zh-TW" sz="2000" b="1" dirty="0"/>
              <a:t>Cyber Security by Gwen Hsieh</a:t>
            </a:r>
          </a:p>
          <a:p>
            <a:pPr>
              <a:buFont typeface="Wingdings"/>
              <a:buChar char="§"/>
            </a:pPr>
            <a:r>
              <a:rPr lang="zh-TW" altLang="en-US" sz="2000" b="0" i="0" dirty="0">
                <a:solidFill>
                  <a:srgbClr val="111111"/>
                </a:solidFill>
                <a:effectLst/>
                <a:latin typeface="-apple-system"/>
              </a:rPr>
              <a:t>美時集團 </a:t>
            </a:r>
            <a:r>
              <a:rPr lang="en-US" altLang="zh-TW" sz="2000" b="0" i="0" dirty="0">
                <a:solidFill>
                  <a:srgbClr val="111111"/>
                </a:solidFill>
                <a:effectLst/>
                <a:latin typeface="-apple-system"/>
              </a:rPr>
              <a:t>ESG </a:t>
            </a:r>
            <a:r>
              <a:rPr lang="zh-TW" altLang="en-US" sz="2000" b="0" i="0" dirty="0">
                <a:solidFill>
                  <a:srgbClr val="111111"/>
                </a:solidFill>
                <a:effectLst/>
                <a:latin typeface="-apple-system"/>
              </a:rPr>
              <a:t>期望</a:t>
            </a:r>
            <a:r>
              <a:rPr lang="zh-TW" altLang="en-US" sz="2000" dirty="0">
                <a:solidFill>
                  <a:srgbClr val="111111"/>
                </a:solidFill>
                <a:latin typeface="-apple-system"/>
                <a:cs typeface="Segoe UI"/>
              </a:rPr>
              <a:t> </a:t>
            </a:r>
            <a:r>
              <a:rPr lang="en-US" sz="2000" b="1" dirty="0">
                <a:solidFill>
                  <a:srgbClr val="282828"/>
                </a:solidFill>
                <a:latin typeface="Montserrat"/>
                <a:cs typeface="Segoe UI"/>
              </a:rPr>
              <a:t>Lotus Group ESG Expectations </a:t>
            </a:r>
          </a:p>
          <a:p>
            <a:pPr>
              <a:buFont typeface="Wingdings"/>
              <a:buChar char="§"/>
            </a:pPr>
            <a:r>
              <a:rPr lang="zh-TW" altLang="en-US" sz="2000" b="0" i="0" dirty="0">
                <a:solidFill>
                  <a:srgbClr val="111111"/>
                </a:solidFill>
                <a:effectLst/>
                <a:latin typeface="-apple-system"/>
              </a:rPr>
              <a:t>供應商行為準則</a:t>
            </a:r>
            <a:r>
              <a:rPr lang="zh-TW" altLang="en-US" sz="2000" dirty="0">
                <a:solidFill>
                  <a:srgbClr val="111111"/>
                </a:solidFill>
                <a:latin typeface="-apple-system"/>
                <a:cs typeface="Segoe UI"/>
              </a:rPr>
              <a:t> </a:t>
            </a:r>
            <a:r>
              <a:rPr lang="en-US" sz="2000" b="1" dirty="0">
                <a:solidFill>
                  <a:srgbClr val="282828"/>
                </a:solidFill>
                <a:latin typeface="Montserrat"/>
                <a:cs typeface="Segoe UI"/>
              </a:rPr>
              <a:t>Supplier Code of  Conduct</a:t>
            </a:r>
          </a:p>
          <a:p>
            <a:pPr>
              <a:buFont typeface="Wingdings"/>
              <a:buChar char="§"/>
            </a:pPr>
            <a:r>
              <a:rPr lang="zh-TW" altLang="en-US" sz="2000" b="0" i="0" dirty="0">
                <a:solidFill>
                  <a:srgbClr val="111111"/>
                </a:solidFill>
                <a:effectLst/>
                <a:latin typeface="-apple-system"/>
              </a:rPr>
              <a:t>供應商入口網站</a:t>
            </a:r>
            <a:r>
              <a:rPr lang="zh-TW" altLang="en-US" sz="2000" dirty="0">
                <a:solidFill>
                  <a:srgbClr val="111111"/>
                </a:solidFill>
                <a:latin typeface="-apple-system"/>
                <a:cs typeface="Segoe UI"/>
              </a:rPr>
              <a:t> </a:t>
            </a:r>
            <a:r>
              <a:rPr lang="en-US" altLang="zh-TW" sz="2000" b="1" dirty="0">
                <a:solidFill>
                  <a:srgbClr val="282828"/>
                </a:solidFill>
                <a:latin typeface="Montserrat"/>
                <a:cs typeface="Segoe UI"/>
              </a:rPr>
              <a:t>Introduce Supplier Portal</a:t>
            </a:r>
            <a:endParaRPr lang="zh-TW" altLang="en-US" sz="2000" b="1" dirty="0">
              <a:solidFill>
                <a:srgbClr val="282828"/>
              </a:solidFill>
              <a:latin typeface="Montserrat"/>
              <a:cs typeface="Segoe UI"/>
            </a:endParaRPr>
          </a:p>
          <a:p>
            <a:pPr>
              <a:buFont typeface="Wingdings"/>
              <a:buChar char="§"/>
            </a:pPr>
            <a:r>
              <a:rPr lang="zh-TW" altLang="en-US" sz="2000" b="0" i="0" dirty="0">
                <a:solidFill>
                  <a:srgbClr val="111111"/>
                </a:solidFill>
                <a:effectLst/>
                <a:latin typeface="-apple-system"/>
              </a:rPr>
              <a:t>閉幕</a:t>
            </a:r>
            <a:r>
              <a:rPr lang="zh-TW" altLang="en-US" sz="2000" dirty="0">
                <a:solidFill>
                  <a:srgbClr val="111111"/>
                </a:solidFill>
                <a:latin typeface="-apple-system"/>
                <a:cs typeface="Segoe UI"/>
              </a:rPr>
              <a:t> </a:t>
            </a:r>
            <a:r>
              <a:rPr lang="en-US" altLang="zh-TW" sz="2000" b="1" dirty="0">
                <a:solidFill>
                  <a:srgbClr val="282828"/>
                </a:solidFill>
                <a:latin typeface="Montserrat"/>
                <a:cs typeface="Segoe UI"/>
              </a:rPr>
              <a:t>Closing</a:t>
            </a:r>
          </a:p>
          <a:p>
            <a:pPr marL="0" indent="0">
              <a:buNone/>
            </a:pPr>
            <a:endParaRPr lang="en-US" dirty="0"/>
          </a:p>
          <a:p>
            <a:pPr marL="0" indent="0">
              <a:buNone/>
            </a:pPr>
            <a:endParaRPr lang="en-US" dirty="0"/>
          </a:p>
          <a:p>
            <a:endParaRPr lang="en-US" dirty="0"/>
          </a:p>
          <a:p>
            <a:pPr marL="0" indent="0">
              <a:buNone/>
            </a:pPr>
            <a:endParaRPr lang="en-US" dirty="0"/>
          </a:p>
          <a:p>
            <a:endParaRPr lang="en-US" dirty="0"/>
          </a:p>
        </p:txBody>
      </p:sp>
      <p:sp>
        <p:nvSpPr>
          <p:cNvPr id="10" name="Slide Number Placeholder 3">
            <a:extLst>
              <a:ext uri="{FF2B5EF4-FFF2-40B4-BE49-F238E27FC236}">
                <a16:creationId xmlns:a16="http://schemas.microsoft.com/office/drawing/2014/main" id="{76D5ECFA-AE8E-900F-7682-61FD6100E7E3}"/>
              </a:ext>
            </a:extLst>
          </p:cNvPr>
          <p:cNvSpPr>
            <a:spLocks noGrp="1"/>
          </p:cNvSpPr>
          <p:nvPr>
            <p:ph type="sldNum" sz="quarter" idx="12"/>
          </p:nvPr>
        </p:nvSpPr>
        <p:spPr>
          <a:xfrm>
            <a:off x="11119557" y="6080555"/>
            <a:ext cx="676910" cy="588863"/>
          </a:xfrm>
        </p:spPr>
        <p:txBody>
          <a:bodyPr/>
          <a:lstStyle/>
          <a:p>
            <a:pPr>
              <a:spcAft>
                <a:spcPts val="600"/>
              </a:spcAft>
            </a:pPr>
            <a:fld id="{51845F5A-061D-4825-9AE9-D7794091C6CF}" type="slidenum">
              <a:rPr lang="en-US" smtClean="0"/>
              <a:pPr>
                <a:spcAft>
                  <a:spcPts val="600"/>
                </a:spcAft>
              </a:pPr>
              <a:t>3</a:t>
            </a:fld>
            <a:endParaRPr lang="en-US"/>
          </a:p>
        </p:txBody>
      </p:sp>
      <p:pic>
        <p:nvPicPr>
          <p:cNvPr id="2" name="Picture 1">
            <a:extLst>
              <a:ext uri="{FF2B5EF4-FFF2-40B4-BE49-F238E27FC236}">
                <a16:creationId xmlns:a16="http://schemas.microsoft.com/office/drawing/2014/main" id="{26CAC6B6-2990-5D68-53E5-597055437463}"/>
              </a:ext>
            </a:extLst>
          </p:cNvPr>
          <p:cNvPicPr>
            <a:picLocks noChangeAspect="1"/>
          </p:cNvPicPr>
          <p:nvPr/>
        </p:nvPicPr>
        <p:blipFill>
          <a:blip r:embed="rId3"/>
          <a:stretch>
            <a:fillRect/>
          </a:stretch>
        </p:blipFill>
        <p:spPr>
          <a:xfrm>
            <a:off x="278858" y="1829547"/>
            <a:ext cx="3464327" cy="2976282"/>
          </a:xfrm>
          <a:prstGeom prst="rect">
            <a:avLst/>
          </a:prstGeom>
        </p:spPr>
      </p:pic>
    </p:spTree>
    <p:extLst>
      <p:ext uri="{BB962C8B-B14F-4D97-AF65-F5344CB8AC3E}">
        <p14:creationId xmlns:p14="http://schemas.microsoft.com/office/powerpoint/2010/main" val="13490557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B76E64-F8B3-6DE4-4132-2898CFA46DD1}"/>
              </a:ext>
            </a:extLst>
          </p:cNvPr>
          <p:cNvSpPr>
            <a:spLocks noGrp="1"/>
          </p:cNvSpPr>
          <p:nvPr>
            <p:ph type="title"/>
          </p:nvPr>
        </p:nvSpPr>
        <p:spPr/>
        <p:txBody>
          <a:bodyPr>
            <a:normAutofit fontScale="90000"/>
          </a:bodyPr>
          <a:lstStyle/>
          <a:p>
            <a:endParaRPr lang="en-US"/>
          </a:p>
        </p:txBody>
      </p:sp>
      <p:sp>
        <p:nvSpPr>
          <p:cNvPr id="4" name="Slide Number Placeholder 3">
            <a:extLst>
              <a:ext uri="{FF2B5EF4-FFF2-40B4-BE49-F238E27FC236}">
                <a16:creationId xmlns:a16="http://schemas.microsoft.com/office/drawing/2014/main" id="{145AA243-3416-EE7A-F99C-ACB76F0A5ACC}"/>
              </a:ext>
            </a:extLst>
          </p:cNvPr>
          <p:cNvSpPr>
            <a:spLocks noGrp="1"/>
          </p:cNvSpPr>
          <p:nvPr>
            <p:ph type="sldNum" sz="quarter" idx="12"/>
          </p:nvPr>
        </p:nvSpPr>
        <p:spPr/>
        <p:txBody>
          <a:bodyPr/>
          <a:lstStyle/>
          <a:p>
            <a:fld id="{51845F5A-061D-4825-9AE9-D7794091C6CF}" type="slidenum">
              <a:rPr lang="en-US" smtClean="0"/>
              <a:t>30</a:t>
            </a:fld>
            <a:endParaRPr lang="en-US"/>
          </a:p>
        </p:txBody>
      </p:sp>
      <p:pic>
        <p:nvPicPr>
          <p:cNvPr id="6" name="Picture 5">
            <a:extLst>
              <a:ext uri="{FF2B5EF4-FFF2-40B4-BE49-F238E27FC236}">
                <a16:creationId xmlns:a16="http://schemas.microsoft.com/office/drawing/2014/main" id="{4E888ED1-0B89-6593-A864-A8373F354E88}"/>
              </a:ext>
            </a:extLst>
          </p:cNvPr>
          <p:cNvPicPr>
            <a:picLocks noChangeAspect="1"/>
          </p:cNvPicPr>
          <p:nvPr/>
        </p:nvPicPr>
        <p:blipFill>
          <a:blip r:embed="rId2"/>
          <a:stretch>
            <a:fillRect/>
          </a:stretch>
        </p:blipFill>
        <p:spPr>
          <a:xfrm>
            <a:off x="0" y="0"/>
            <a:ext cx="12170791" cy="5906997"/>
          </a:xfrm>
          <a:prstGeom prst="rect">
            <a:avLst/>
          </a:prstGeom>
        </p:spPr>
      </p:pic>
    </p:spTree>
    <p:extLst>
      <p:ext uri="{BB962C8B-B14F-4D97-AF65-F5344CB8AC3E}">
        <p14:creationId xmlns:p14="http://schemas.microsoft.com/office/powerpoint/2010/main" val="20210934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06F60FA-6B53-0EB9-4E37-D9A2F7CD1D3B}"/>
              </a:ext>
            </a:extLst>
          </p:cNvPr>
          <p:cNvSpPr>
            <a:spLocks noGrp="1"/>
          </p:cNvSpPr>
          <p:nvPr>
            <p:ph type="sldNum" sz="quarter" idx="12"/>
          </p:nvPr>
        </p:nvSpPr>
        <p:spPr/>
        <p:txBody>
          <a:bodyPr/>
          <a:lstStyle/>
          <a:p>
            <a:fld id="{51845F5A-061D-4825-9AE9-D7794091C6CF}" type="slidenum">
              <a:rPr lang="en-US" smtClean="0"/>
              <a:t>31</a:t>
            </a:fld>
            <a:endParaRPr lang="en-US"/>
          </a:p>
        </p:txBody>
      </p:sp>
      <p:pic>
        <p:nvPicPr>
          <p:cNvPr id="6" name="Picture 5">
            <a:extLst>
              <a:ext uri="{FF2B5EF4-FFF2-40B4-BE49-F238E27FC236}">
                <a16:creationId xmlns:a16="http://schemas.microsoft.com/office/drawing/2014/main" id="{B09AE259-A90F-715B-1299-E2667565A5E6}"/>
              </a:ext>
            </a:extLst>
          </p:cNvPr>
          <p:cNvPicPr>
            <a:picLocks noChangeAspect="1"/>
          </p:cNvPicPr>
          <p:nvPr/>
        </p:nvPicPr>
        <p:blipFill>
          <a:blip r:embed="rId2"/>
          <a:stretch>
            <a:fillRect/>
          </a:stretch>
        </p:blipFill>
        <p:spPr>
          <a:xfrm>
            <a:off x="-1" y="0"/>
            <a:ext cx="12192001" cy="6080555"/>
          </a:xfrm>
          <a:prstGeom prst="rect">
            <a:avLst/>
          </a:prstGeom>
        </p:spPr>
      </p:pic>
    </p:spTree>
    <p:extLst>
      <p:ext uri="{BB962C8B-B14F-4D97-AF65-F5344CB8AC3E}">
        <p14:creationId xmlns:p14="http://schemas.microsoft.com/office/powerpoint/2010/main" val="33542316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E8A8D-A1DC-0BF9-7413-19FB4115CC35}"/>
              </a:ext>
            </a:extLst>
          </p:cNvPr>
          <p:cNvSpPr>
            <a:spLocks noGrp="1"/>
          </p:cNvSpPr>
          <p:nvPr>
            <p:ph type="title"/>
          </p:nvPr>
        </p:nvSpPr>
        <p:spPr/>
        <p:txBody>
          <a:bodyPr>
            <a:normAutofit fontScale="90000"/>
          </a:bodyPr>
          <a:lstStyle/>
          <a:p>
            <a:endParaRPr lang="en-US"/>
          </a:p>
        </p:txBody>
      </p:sp>
      <p:sp>
        <p:nvSpPr>
          <p:cNvPr id="3" name="Content Placeholder 2">
            <a:extLst>
              <a:ext uri="{FF2B5EF4-FFF2-40B4-BE49-F238E27FC236}">
                <a16:creationId xmlns:a16="http://schemas.microsoft.com/office/drawing/2014/main" id="{4584B0DD-53D8-3D96-8B3D-C2925C52F802}"/>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C41DF98-C4C2-E94E-63FD-4BF07938D897}"/>
              </a:ext>
            </a:extLst>
          </p:cNvPr>
          <p:cNvSpPr>
            <a:spLocks noGrp="1"/>
          </p:cNvSpPr>
          <p:nvPr>
            <p:ph type="sldNum" sz="quarter" idx="12"/>
          </p:nvPr>
        </p:nvSpPr>
        <p:spPr/>
        <p:txBody>
          <a:bodyPr/>
          <a:lstStyle/>
          <a:p>
            <a:fld id="{51845F5A-061D-4825-9AE9-D7794091C6CF}" type="slidenum">
              <a:rPr lang="en-US" smtClean="0"/>
              <a:t>32</a:t>
            </a:fld>
            <a:endParaRPr lang="en-US"/>
          </a:p>
        </p:txBody>
      </p:sp>
      <p:pic>
        <p:nvPicPr>
          <p:cNvPr id="6" name="Picture 5">
            <a:extLst>
              <a:ext uri="{FF2B5EF4-FFF2-40B4-BE49-F238E27FC236}">
                <a16:creationId xmlns:a16="http://schemas.microsoft.com/office/drawing/2014/main" id="{5F157318-8F61-305D-AE64-85CEAAF34951}"/>
              </a:ext>
            </a:extLst>
          </p:cNvPr>
          <p:cNvPicPr>
            <a:picLocks noChangeAspect="1"/>
          </p:cNvPicPr>
          <p:nvPr/>
        </p:nvPicPr>
        <p:blipFill>
          <a:blip r:embed="rId2"/>
          <a:stretch>
            <a:fillRect/>
          </a:stretch>
        </p:blipFill>
        <p:spPr>
          <a:xfrm>
            <a:off x="1065" y="0"/>
            <a:ext cx="12190935" cy="6886514"/>
          </a:xfrm>
          <a:prstGeom prst="rect">
            <a:avLst/>
          </a:prstGeom>
        </p:spPr>
      </p:pic>
    </p:spTree>
    <p:extLst>
      <p:ext uri="{BB962C8B-B14F-4D97-AF65-F5344CB8AC3E}">
        <p14:creationId xmlns:p14="http://schemas.microsoft.com/office/powerpoint/2010/main" val="33382283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F03365CA-520B-442D-95FE-38AF582642FE}"/>
              </a:ext>
            </a:extLst>
          </p:cNvPr>
          <p:cNvSpPr>
            <a:spLocks noGrp="1"/>
          </p:cNvSpPr>
          <p:nvPr>
            <p:ph type="ctrTitle"/>
          </p:nvPr>
        </p:nvSpPr>
        <p:spPr>
          <a:xfrm>
            <a:off x="1077197" y="2567226"/>
            <a:ext cx="6464596" cy="1600438"/>
          </a:xfrm>
        </p:spPr>
        <p:txBody>
          <a:bodyPr/>
          <a:lstStyle/>
          <a:p>
            <a:pPr>
              <a:lnSpc>
                <a:spcPct val="100000"/>
              </a:lnSpc>
              <a:spcBef>
                <a:spcPts val="1000"/>
              </a:spcBef>
            </a:pPr>
            <a:r>
              <a:rPr lang="zh-TW" altLang="en-US" sz="2800" b="1">
                <a:latin typeface="-apple-system"/>
              </a:rPr>
              <a:t>供應商入口網站</a:t>
            </a:r>
            <a:br>
              <a:rPr lang="en-US" altLang="zh-TW" sz="2800" b="1">
                <a:latin typeface="-apple-system"/>
              </a:rPr>
            </a:br>
            <a:r>
              <a:rPr lang="en-US" altLang="zh-TW" sz="2800" b="1">
                <a:latin typeface="-apple-system"/>
              </a:rPr>
              <a:t>Supplier Portal</a:t>
            </a:r>
            <a:br>
              <a:rPr lang="en-US" altLang="zh-TW" sz="2400" b="1"/>
            </a:br>
            <a:br>
              <a:rPr lang="en-US" altLang="zh-TW" sz="2400" b="1"/>
            </a:br>
            <a:r>
              <a:rPr lang="en-US" altLang="zh-TW" sz="2400" b="1"/>
              <a:t>			by Rebecca Liu</a:t>
            </a:r>
          </a:p>
        </p:txBody>
      </p:sp>
    </p:spTree>
    <p:extLst>
      <p:ext uri="{BB962C8B-B14F-4D97-AF65-F5344CB8AC3E}">
        <p14:creationId xmlns:p14="http://schemas.microsoft.com/office/powerpoint/2010/main" val="1763609805"/>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54F85B92-D890-4518-F0B4-45F49504736E}"/>
              </a:ext>
            </a:extLst>
          </p:cNvPr>
          <p:cNvSpPr>
            <a:spLocks noGrp="1"/>
          </p:cNvSpPr>
          <p:nvPr>
            <p:ph type="title"/>
          </p:nvPr>
        </p:nvSpPr>
        <p:spPr/>
        <p:txBody>
          <a:bodyPr wrap="square" anchor="b">
            <a:normAutofit fontScale="90000"/>
          </a:bodyPr>
          <a:lstStyle/>
          <a:p>
            <a:r>
              <a:rPr lang="zh-TW" altLang="en-US" sz="3600" b="1">
                <a:latin typeface="Microsoft JhengHei Light" panose="020B0304030504040204" pitchFamily="34" charset="-120"/>
                <a:ea typeface="Microsoft JhengHei Light" panose="020B0304030504040204" pitchFamily="34" charset="-120"/>
              </a:rPr>
              <a:t>供應商入口網站</a:t>
            </a:r>
            <a:br>
              <a:rPr lang="en-US" altLang="zh-TW"/>
            </a:br>
            <a:r>
              <a:rPr lang="en-US" altLang="zh-TW" sz="2700"/>
              <a:t>Connect data share between supplier and Lotus</a:t>
            </a:r>
            <a:endParaRPr lang="zh-TW" altLang="en-US"/>
          </a:p>
        </p:txBody>
      </p:sp>
      <p:sp>
        <p:nvSpPr>
          <p:cNvPr id="10" name="Content Placeholder 3">
            <a:extLst>
              <a:ext uri="{FF2B5EF4-FFF2-40B4-BE49-F238E27FC236}">
                <a16:creationId xmlns:a16="http://schemas.microsoft.com/office/drawing/2014/main" id="{B5341465-D190-8171-7785-1EEB59486DF9}"/>
              </a:ext>
            </a:extLst>
          </p:cNvPr>
          <p:cNvSpPr>
            <a:spLocks noGrp="1"/>
          </p:cNvSpPr>
          <p:nvPr>
            <p:ph idx="1"/>
          </p:nvPr>
        </p:nvSpPr>
        <p:spPr>
          <a:xfrm>
            <a:off x="6355829" y="1604865"/>
            <a:ext cx="4939555" cy="4571816"/>
          </a:xfrm>
        </p:spPr>
        <p:txBody>
          <a:bodyPr>
            <a:normAutofit fontScale="92500" lnSpcReduction="10000"/>
          </a:bodyPr>
          <a:lstStyle/>
          <a:p>
            <a:pPr marL="0" indent="0">
              <a:buNone/>
            </a:pPr>
            <a:r>
              <a:rPr lang="zh-TW" altLang="en-US" b="1"/>
              <a:t>整合</a:t>
            </a:r>
            <a:endParaRPr lang="en-US" altLang="zh-TW" b="1"/>
          </a:p>
          <a:p>
            <a:r>
              <a:rPr lang="zh-TW" altLang="en-US"/>
              <a:t>供應商入口網站將為整合所有供應商數據傳輸到美時的一個平台</a:t>
            </a:r>
            <a:endParaRPr lang="en-US" altLang="zh-TW"/>
          </a:p>
          <a:p>
            <a:pPr lvl="1"/>
            <a:r>
              <a:rPr lang="zh-TW" altLang="en-US" b="0" i="0">
                <a:solidFill>
                  <a:srgbClr val="111111"/>
                </a:solidFill>
                <a:effectLst/>
                <a:latin typeface="-apple-system"/>
              </a:rPr>
              <a:t>供應商資料註冊</a:t>
            </a:r>
            <a:endParaRPr lang="en-US" altLang="zh-TW" b="0" i="0">
              <a:solidFill>
                <a:srgbClr val="111111"/>
              </a:solidFill>
              <a:effectLst/>
              <a:latin typeface="-apple-system"/>
            </a:endParaRPr>
          </a:p>
          <a:p>
            <a:pPr lvl="1"/>
            <a:r>
              <a:rPr lang="zh-TW" altLang="en-US" b="0" i="0">
                <a:solidFill>
                  <a:srgbClr val="111111"/>
                </a:solidFill>
                <a:effectLst/>
                <a:latin typeface="-apple-system"/>
              </a:rPr>
              <a:t>供應商管理計劃 </a:t>
            </a:r>
            <a:endParaRPr lang="en-US" altLang="zh-TW" b="0" i="0">
              <a:solidFill>
                <a:srgbClr val="111111"/>
              </a:solidFill>
              <a:effectLst/>
              <a:latin typeface="-apple-system"/>
            </a:endParaRPr>
          </a:p>
          <a:p>
            <a:pPr lvl="1"/>
            <a:r>
              <a:rPr lang="zh-TW" altLang="en-US" b="0" i="0">
                <a:solidFill>
                  <a:srgbClr val="111111"/>
                </a:solidFill>
                <a:effectLst/>
                <a:latin typeface="-apple-system"/>
              </a:rPr>
              <a:t>交貨相關文件</a:t>
            </a:r>
            <a:endParaRPr lang="en-US"/>
          </a:p>
          <a:p>
            <a:pPr marL="0" indent="0">
              <a:buNone/>
            </a:pPr>
            <a:r>
              <a:rPr lang="zh-TW" altLang="en-US" b="1" i="0">
                <a:solidFill>
                  <a:srgbClr val="111111"/>
                </a:solidFill>
                <a:effectLst/>
                <a:latin typeface="-apple-system"/>
              </a:rPr>
              <a:t>即時</a:t>
            </a:r>
            <a:endParaRPr lang="en-US" altLang="zh-TW" b="1" i="0">
              <a:solidFill>
                <a:srgbClr val="111111"/>
              </a:solidFill>
              <a:effectLst/>
              <a:latin typeface="-apple-system"/>
            </a:endParaRPr>
          </a:p>
          <a:p>
            <a:r>
              <a:rPr lang="zh-TW" altLang="en-US" b="0" i="0">
                <a:solidFill>
                  <a:srgbClr val="111111"/>
                </a:solidFill>
                <a:effectLst/>
                <a:latin typeface="-apple-system"/>
              </a:rPr>
              <a:t>資料依供應商帳號</a:t>
            </a:r>
            <a:r>
              <a:rPr lang="zh-TW" altLang="en-US">
                <a:solidFill>
                  <a:srgbClr val="111111"/>
                </a:solidFill>
                <a:latin typeface="-apple-system"/>
              </a:rPr>
              <a:t>分類</a:t>
            </a:r>
            <a:r>
              <a:rPr lang="zh-TW" altLang="en-US" b="0" i="0">
                <a:solidFill>
                  <a:srgbClr val="111111"/>
                </a:solidFill>
                <a:effectLst/>
                <a:latin typeface="-apple-system"/>
              </a:rPr>
              <a:t>儲存，有效減少資料歸檔及審閱時間</a:t>
            </a:r>
            <a:endParaRPr lang="en-US" altLang="zh-TW" b="0" i="0">
              <a:solidFill>
                <a:srgbClr val="111111"/>
              </a:solidFill>
              <a:effectLst/>
              <a:latin typeface="-apple-system"/>
            </a:endParaRPr>
          </a:p>
          <a:p>
            <a:pPr marL="0" indent="0">
              <a:buNone/>
            </a:pPr>
            <a:r>
              <a:rPr lang="zh-TW" altLang="en-US" b="1" i="0">
                <a:solidFill>
                  <a:srgbClr val="111111"/>
                </a:solidFill>
                <a:effectLst/>
                <a:latin typeface="-apple-system"/>
              </a:rPr>
              <a:t>安全</a:t>
            </a:r>
            <a:endParaRPr lang="en-US" altLang="zh-TW" b="1" i="0">
              <a:solidFill>
                <a:srgbClr val="111111"/>
              </a:solidFill>
              <a:effectLst/>
              <a:latin typeface="-apple-system"/>
            </a:endParaRPr>
          </a:p>
          <a:p>
            <a:r>
              <a:rPr lang="zh-TW" altLang="en-US" b="0" i="0">
                <a:solidFill>
                  <a:srgbClr val="111111"/>
                </a:solidFill>
                <a:effectLst/>
                <a:latin typeface="-apple-system"/>
              </a:rPr>
              <a:t>供應商數據將受到存取控制的保護，並由供應商用戶</a:t>
            </a:r>
            <a:r>
              <a:rPr lang="en-US" altLang="zh-TW" b="0" i="0">
                <a:solidFill>
                  <a:srgbClr val="111111"/>
                </a:solidFill>
                <a:effectLst/>
                <a:latin typeface="-apple-system"/>
              </a:rPr>
              <a:t>ID</a:t>
            </a:r>
            <a:r>
              <a:rPr lang="zh-TW" altLang="en-US" b="0" i="0">
                <a:solidFill>
                  <a:srgbClr val="111111"/>
                </a:solidFill>
                <a:effectLst/>
                <a:latin typeface="-apple-system"/>
              </a:rPr>
              <a:t>進行管理</a:t>
            </a:r>
            <a:endParaRPr lang="en-US"/>
          </a:p>
          <a:p>
            <a:pPr marL="0" indent="0">
              <a:buNone/>
            </a:pPr>
            <a:r>
              <a:rPr lang="zh-TW" altLang="en-US" b="1" i="0">
                <a:solidFill>
                  <a:srgbClr val="111111"/>
                </a:solidFill>
                <a:effectLst/>
                <a:latin typeface="-apple-system"/>
              </a:rPr>
              <a:t>時程</a:t>
            </a:r>
            <a:endParaRPr lang="en-US" altLang="zh-TW" b="1" i="0">
              <a:solidFill>
                <a:srgbClr val="111111"/>
              </a:solidFill>
              <a:effectLst/>
              <a:latin typeface="-apple-system"/>
            </a:endParaRPr>
          </a:p>
          <a:p>
            <a:r>
              <a:rPr lang="zh-TW" altLang="en-US" b="0" i="0">
                <a:solidFill>
                  <a:srgbClr val="111111"/>
                </a:solidFill>
                <a:effectLst/>
                <a:latin typeface="-apple-system"/>
              </a:rPr>
              <a:t>預計推出時間：</a:t>
            </a:r>
            <a:r>
              <a:rPr lang="en-US" altLang="zh-TW" b="0" i="0">
                <a:solidFill>
                  <a:srgbClr val="111111"/>
                </a:solidFill>
                <a:effectLst/>
                <a:latin typeface="-apple-system"/>
              </a:rPr>
              <a:t>2025</a:t>
            </a:r>
            <a:r>
              <a:rPr lang="zh-TW" altLang="en-US" b="0" i="0">
                <a:solidFill>
                  <a:srgbClr val="111111"/>
                </a:solidFill>
                <a:effectLst/>
                <a:latin typeface="-apple-system"/>
              </a:rPr>
              <a:t>年第一季</a:t>
            </a:r>
            <a:endParaRPr lang="en-US"/>
          </a:p>
        </p:txBody>
      </p:sp>
      <p:sp>
        <p:nvSpPr>
          <p:cNvPr id="4" name="投影片編號版面配置區 3">
            <a:extLst>
              <a:ext uri="{FF2B5EF4-FFF2-40B4-BE49-F238E27FC236}">
                <a16:creationId xmlns:a16="http://schemas.microsoft.com/office/drawing/2014/main" id="{BAE00720-D8F8-AF11-9904-5CD8D8BFC083}"/>
              </a:ext>
            </a:extLst>
          </p:cNvPr>
          <p:cNvSpPr>
            <a:spLocks noGrp="1"/>
          </p:cNvSpPr>
          <p:nvPr>
            <p:ph type="sldNum" sz="quarter" idx="12"/>
          </p:nvPr>
        </p:nvSpPr>
        <p:spPr/>
        <p:txBody>
          <a:bodyPr anchor="ctr">
            <a:normAutofit/>
          </a:bodyPr>
          <a:lstStyle/>
          <a:p>
            <a:pPr>
              <a:spcAft>
                <a:spcPts val="600"/>
              </a:spcAft>
            </a:pPr>
            <a:fld id="{51845F5A-061D-4825-9AE9-D7794091C6CF}" type="slidenum">
              <a:rPr lang="en-US" smtClean="0"/>
              <a:pPr>
                <a:spcAft>
                  <a:spcPts val="600"/>
                </a:spcAft>
              </a:pPr>
              <a:t>34</a:t>
            </a:fld>
            <a:endParaRPr lang="en-US"/>
          </a:p>
        </p:txBody>
      </p:sp>
      <p:pic>
        <p:nvPicPr>
          <p:cNvPr id="5" name="圖片 4">
            <a:extLst>
              <a:ext uri="{FF2B5EF4-FFF2-40B4-BE49-F238E27FC236}">
                <a16:creationId xmlns:a16="http://schemas.microsoft.com/office/drawing/2014/main" id="{B570A0C5-BA64-FD0F-3DFA-8CEE59BB2BCC}"/>
              </a:ext>
            </a:extLst>
          </p:cNvPr>
          <p:cNvPicPr>
            <a:picLocks noChangeAspect="1"/>
          </p:cNvPicPr>
          <p:nvPr/>
        </p:nvPicPr>
        <p:blipFill>
          <a:blip r:embed="rId3"/>
          <a:srcRect b="55453"/>
          <a:stretch/>
        </p:blipFill>
        <p:spPr>
          <a:xfrm>
            <a:off x="674512" y="1620067"/>
            <a:ext cx="5358584" cy="1294995"/>
          </a:xfrm>
          <a:prstGeom prst="rect">
            <a:avLst/>
          </a:prstGeom>
          <a:ln>
            <a:noFill/>
          </a:ln>
          <a:effectLst>
            <a:outerShdw blurRad="190500" algn="tl" rotWithShape="0">
              <a:srgbClr val="000000">
                <a:alpha val="70000"/>
              </a:srgbClr>
            </a:outerShdw>
          </a:effectLst>
        </p:spPr>
      </p:pic>
      <p:pic>
        <p:nvPicPr>
          <p:cNvPr id="6" name="圖片 5">
            <a:extLst>
              <a:ext uri="{FF2B5EF4-FFF2-40B4-BE49-F238E27FC236}">
                <a16:creationId xmlns:a16="http://schemas.microsoft.com/office/drawing/2014/main" id="{6ECCCD59-C7E1-3EBD-EF63-DBE6544BB640}"/>
              </a:ext>
            </a:extLst>
          </p:cNvPr>
          <p:cNvPicPr>
            <a:picLocks noChangeAspect="1"/>
          </p:cNvPicPr>
          <p:nvPr/>
        </p:nvPicPr>
        <p:blipFill>
          <a:blip r:embed="rId4"/>
          <a:srcRect l="1429" t="-46" b="38122"/>
          <a:stretch/>
        </p:blipFill>
        <p:spPr>
          <a:xfrm>
            <a:off x="674511" y="3270363"/>
            <a:ext cx="5345887" cy="2906318"/>
          </a:xfrm>
          <a:prstGeom prst="rect">
            <a:avLst/>
          </a:prstGeom>
          <a:ln>
            <a:noFill/>
          </a:ln>
          <a:effectLst>
            <a:outerShdw blurRad="190500" algn="tl" rotWithShape="0">
              <a:srgbClr val="000000">
                <a:alpha val="70000"/>
              </a:srgbClr>
            </a:outerShdw>
          </a:effectLst>
        </p:spPr>
      </p:pic>
      <p:sp>
        <p:nvSpPr>
          <p:cNvPr id="7" name="矩形 6">
            <a:extLst>
              <a:ext uri="{FF2B5EF4-FFF2-40B4-BE49-F238E27FC236}">
                <a16:creationId xmlns:a16="http://schemas.microsoft.com/office/drawing/2014/main" id="{DE0C148E-4511-D97C-BB1C-34805A3A9C72}"/>
              </a:ext>
            </a:extLst>
          </p:cNvPr>
          <p:cNvSpPr/>
          <p:nvPr/>
        </p:nvSpPr>
        <p:spPr>
          <a:xfrm>
            <a:off x="6171603" y="1604865"/>
            <a:ext cx="45719" cy="45718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35417388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C1B62E24-8C38-BE41-6B3C-6684AFCF75D2}"/>
              </a:ext>
            </a:extLst>
          </p:cNvPr>
          <p:cNvSpPr>
            <a:spLocks noGrp="1"/>
          </p:cNvSpPr>
          <p:nvPr>
            <p:ph type="ctrTitle"/>
          </p:nvPr>
        </p:nvSpPr>
        <p:spPr>
          <a:xfrm>
            <a:off x="1633870" y="2177182"/>
            <a:ext cx="5600700" cy="1329595"/>
          </a:xfrm>
        </p:spPr>
        <p:txBody>
          <a:bodyPr/>
          <a:lstStyle/>
          <a:p>
            <a:r>
              <a:rPr lang="zh-TW" altLang="en-US"/>
              <a:t>感謝聆聽</a:t>
            </a:r>
            <a:br>
              <a:rPr lang="en-US" altLang="zh-TW"/>
            </a:br>
            <a:r>
              <a:rPr lang="en-US" altLang="zh-TW"/>
              <a:t>Thank you for your participation</a:t>
            </a:r>
            <a:endParaRPr lang="zh-TW" altLang="en-US"/>
          </a:p>
        </p:txBody>
      </p:sp>
    </p:spTree>
    <p:extLst>
      <p:ext uri="{BB962C8B-B14F-4D97-AF65-F5344CB8AC3E}">
        <p14:creationId xmlns:p14="http://schemas.microsoft.com/office/powerpoint/2010/main" val="15202782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608C587-F49F-7DA6-EB8F-BE48ABFCB7CB}"/>
              </a:ext>
            </a:extLst>
          </p:cNvPr>
          <p:cNvPicPr>
            <a:picLocks noChangeAspect="1"/>
          </p:cNvPicPr>
          <p:nvPr/>
        </p:nvPicPr>
        <p:blipFill>
          <a:blip r:embed="rId3"/>
          <a:stretch>
            <a:fillRect/>
          </a:stretch>
        </p:blipFill>
        <p:spPr>
          <a:xfrm>
            <a:off x="7305383" y="3118710"/>
            <a:ext cx="4491084" cy="2251562"/>
          </a:xfrm>
          <a:prstGeom prst="rect">
            <a:avLst/>
          </a:prstGeom>
        </p:spPr>
      </p:pic>
      <p:sp>
        <p:nvSpPr>
          <p:cNvPr id="2" name="標題 1">
            <a:extLst>
              <a:ext uri="{FF2B5EF4-FFF2-40B4-BE49-F238E27FC236}">
                <a16:creationId xmlns:a16="http://schemas.microsoft.com/office/drawing/2014/main" id="{881524C3-8CAF-3451-2AB4-D53E1A1A46B3}"/>
              </a:ext>
            </a:extLst>
          </p:cNvPr>
          <p:cNvSpPr>
            <a:spLocks noGrp="1"/>
          </p:cNvSpPr>
          <p:nvPr>
            <p:ph type="title"/>
          </p:nvPr>
        </p:nvSpPr>
        <p:spPr>
          <a:xfrm>
            <a:off x="7119148" y="1656189"/>
            <a:ext cx="4677319" cy="957321"/>
          </a:xfrm>
        </p:spPr>
        <p:txBody>
          <a:bodyPr>
            <a:noAutofit/>
          </a:bodyPr>
          <a:lstStyle/>
          <a:p>
            <a:pPr algn="ctr"/>
            <a:r>
              <a:rPr lang="zh-TW" altLang="en-US" sz="2000">
                <a:solidFill>
                  <a:srgbClr val="111111"/>
                </a:solidFill>
                <a:latin typeface="-apple-system"/>
                <a:ea typeface="+mn-ea"/>
                <a:cs typeface="+mn-cs"/>
              </a:rPr>
              <a:t>美時與供應商合作共創美好世界</a:t>
            </a:r>
            <a:br>
              <a:rPr lang="en-US" altLang="zh-TW" sz="1800" b="1" i="0">
                <a:solidFill>
                  <a:srgbClr val="111111"/>
                </a:solidFill>
                <a:effectLst/>
                <a:latin typeface="Microsoft JhengHei Light" panose="020B0304030504040204" pitchFamily="34" charset="-120"/>
                <a:ea typeface="Microsoft JhengHei Light" panose="020B0304030504040204" pitchFamily="34" charset="-120"/>
              </a:rPr>
            </a:br>
            <a:r>
              <a:rPr lang="en-US" altLang="zh-TW" sz="1800"/>
              <a:t>Lotus Collaboration with Suppliers for a Better World</a:t>
            </a:r>
            <a:endParaRPr lang="zh-TW" altLang="en-US" sz="1800"/>
          </a:p>
        </p:txBody>
      </p:sp>
      <p:sp>
        <p:nvSpPr>
          <p:cNvPr id="4" name="投影片編號版面配置區 3">
            <a:extLst>
              <a:ext uri="{FF2B5EF4-FFF2-40B4-BE49-F238E27FC236}">
                <a16:creationId xmlns:a16="http://schemas.microsoft.com/office/drawing/2014/main" id="{7B464F63-52EA-498F-2266-857385A3B550}"/>
              </a:ext>
            </a:extLst>
          </p:cNvPr>
          <p:cNvSpPr>
            <a:spLocks noGrp="1"/>
          </p:cNvSpPr>
          <p:nvPr>
            <p:ph type="sldNum" sz="quarter" idx="12"/>
          </p:nvPr>
        </p:nvSpPr>
        <p:spPr/>
        <p:txBody>
          <a:bodyPr/>
          <a:lstStyle/>
          <a:p>
            <a:fld id="{51845F5A-061D-4825-9AE9-D7794091C6CF}" type="slidenum">
              <a:rPr lang="en-US" smtClean="0"/>
              <a:t>4</a:t>
            </a:fld>
            <a:endParaRPr lang="en-US"/>
          </a:p>
        </p:txBody>
      </p:sp>
      <p:sp>
        <p:nvSpPr>
          <p:cNvPr id="5" name="矩形 4">
            <a:extLst>
              <a:ext uri="{FF2B5EF4-FFF2-40B4-BE49-F238E27FC236}">
                <a16:creationId xmlns:a16="http://schemas.microsoft.com/office/drawing/2014/main" id="{17F4AD19-6BCE-0F7A-099C-0E1CBD5563E1}"/>
              </a:ext>
            </a:extLst>
          </p:cNvPr>
          <p:cNvSpPr/>
          <p:nvPr/>
        </p:nvSpPr>
        <p:spPr>
          <a:xfrm>
            <a:off x="395533" y="1147482"/>
            <a:ext cx="3862702" cy="3675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 name="內容版面配置區 2">
            <a:extLst>
              <a:ext uri="{FF2B5EF4-FFF2-40B4-BE49-F238E27FC236}">
                <a16:creationId xmlns:a16="http://schemas.microsoft.com/office/drawing/2014/main" id="{3C294C1B-08B0-BB26-9A17-ADC25CBB042F}"/>
              </a:ext>
            </a:extLst>
          </p:cNvPr>
          <p:cNvSpPr>
            <a:spLocks noGrp="1"/>
          </p:cNvSpPr>
          <p:nvPr>
            <p:ph idx="1"/>
          </p:nvPr>
        </p:nvSpPr>
        <p:spPr>
          <a:xfrm>
            <a:off x="478654" y="925276"/>
            <a:ext cx="6458339" cy="5007448"/>
          </a:xfrm>
        </p:spPr>
        <p:txBody>
          <a:bodyPr>
            <a:normAutofit fontScale="25000" lnSpcReduction="20000"/>
          </a:bodyPr>
          <a:lstStyle/>
          <a:p>
            <a:pPr>
              <a:buFont typeface="Wingdings" panose="05000000000000000000" pitchFamily="2" charset="2"/>
              <a:buChar char=""/>
            </a:pPr>
            <a:r>
              <a:rPr lang="zh-TW" altLang="en-US" sz="8000" b="1">
                <a:solidFill>
                  <a:srgbClr val="111111"/>
                </a:solidFill>
                <a:latin typeface="+mn-ea"/>
              </a:rPr>
              <a:t>了解</a:t>
            </a:r>
            <a:r>
              <a:rPr lang="en-US" altLang="zh-TW" sz="8000" b="1">
                <a:latin typeface="+mn-ea"/>
              </a:rPr>
              <a:t>ESG  Acknowledging ESG </a:t>
            </a:r>
          </a:p>
          <a:p>
            <a:pPr>
              <a:buFont typeface="Wingdings" panose="05000000000000000000" pitchFamily="2" charset="2"/>
              <a:buChar char=""/>
            </a:pPr>
            <a:endParaRPr lang="en-US" altLang="zh-TW" sz="8000" b="1">
              <a:latin typeface="+mn-ea"/>
            </a:endParaRPr>
          </a:p>
          <a:p>
            <a:pPr>
              <a:buFont typeface="Wingdings" panose="05000000000000000000" pitchFamily="2" charset="2"/>
              <a:buChar char=""/>
            </a:pPr>
            <a:r>
              <a:rPr lang="zh-TW" altLang="en-US" sz="8000" b="1">
                <a:solidFill>
                  <a:srgbClr val="111111"/>
                </a:solidFill>
                <a:latin typeface="+mn-ea"/>
              </a:rPr>
              <a:t>了解供應商行為準則  </a:t>
            </a:r>
            <a:r>
              <a:rPr lang="en-US" altLang="zh-TW" sz="8000" b="1">
                <a:latin typeface="+mn-ea"/>
              </a:rPr>
              <a:t>Acknowledging Supplier Code of conduct</a:t>
            </a:r>
          </a:p>
          <a:p>
            <a:pPr>
              <a:buFont typeface="Wingdings" panose="05000000000000000000" pitchFamily="2" charset="2"/>
              <a:buChar char=""/>
            </a:pPr>
            <a:endParaRPr lang="en-US" altLang="zh-TW" sz="8000" b="1">
              <a:latin typeface="+mn-ea"/>
            </a:endParaRPr>
          </a:p>
          <a:p>
            <a:pPr>
              <a:buFont typeface="Wingdings" panose="05000000000000000000" pitchFamily="2" charset="2"/>
              <a:buChar char=""/>
            </a:pPr>
            <a:r>
              <a:rPr lang="zh-TW" altLang="en-US" sz="8000" b="1" i="0">
                <a:solidFill>
                  <a:srgbClr val="111111"/>
                </a:solidFill>
                <a:effectLst/>
                <a:latin typeface="+mn-ea"/>
              </a:rPr>
              <a:t>啟動溫室氣體 </a:t>
            </a:r>
            <a:r>
              <a:rPr lang="en-US" altLang="zh-TW" sz="8000" b="1" i="0">
                <a:solidFill>
                  <a:srgbClr val="111111"/>
                </a:solidFill>
                <a:effectLst/>
                <a:latin typeface="+mn-ea"/>
              </a:rPr>
              <a:t>(GHG)</a:t>
            </a:r>
            <a:r>
              <a:rPr lang="zh-TW" altLang="en-US" sz="8000" b="1" i="0">
                <a:solidFill>
                  <a:srgbClr val="111111"/>
                </a:solidFill>
                <a:effectLst/>
                <a:latin typeface="+mn-ea"/>
              </a:rPr>
              <a:t>盤點  </a:t>
            </a:r>
            <a:r>
              <a:rPr lang="en-US" altLang="zh-TW" sz="8000" b="1">
                <a:latin typeface="+mn-ea"/>
              </a:rPr>
              <a:t>Initiating Greenhouse Gas (GHG) Inventory</a:t>
            </a:r>
          </a:p>
          <a:p>
            <a:pPr lvl="1">
              <a:buFont typeface="Wingdings" panose="05000000000000000000" pitchFamily="2" charset="2"/>
              <a:buChar char=""/>
            </a:pPr>
            <a:r>
              <a:rPr lang="en-US" altLang="zh-TW" sz="8000">
                <a:solidFill>
                  <a:srgbClr val="111111"/>
                </a:solidFill>
                <a:latin typeface="+mn-ea"/>
              </a:rPr>
              <a:t>2027 </a:t>
            </a:r>
            <a:r>
              <a:rPr lang="zh-TW" altLang="en-US" sz="8000">
                <a:solidFill>
                  <a:srgbClr val="111111"/>
                </a:solidFill>
                <a:latin typeface="+mn-ea"/>
              </a:rPr>
              <a:t>年前披露並提供其範疇 </a:t>
            </a:r>
            <a:r>
              <a:rPr lang="en-US" altLang="zh-TW" sz="8000">
                <a:solidFill>
                  <a:srgbClr val="111111"/>
                </a:solidFill>
                <a:latin typeface="+mn-ea"/>
              </a:rPr>
              <a:t>1</a:t>
            </a:r>
            <a:r>
              <a:rPr lang="zh-TW" altLang="en-US" sz="8000">
                <a:solidFill>
                  <a:srgbClr val="111111"/>
                </a:solidFill>
                <a:latin typeface="+mn-ea"/>
              </a:rPr>
              <a:t>、範疇 </a:t>
            </a:r>
            <a:r>
              <a:rPr lang="en-US" altLang="zh-TW" sz="8000">
                <a:solidFill>
                  <a:srgbClr val="111111"/>
                </a:solidFill>
                <a:latin typeface="+mn-ea"/>
              </a:rPr>
              <a:t>2 </a:t>
            </a:r>
            <a:r>
              <a:rPr lang="zh-TW" altLang="en-US" sz="8000">
                <a:solidFill>
                  <a:srgbClr val="111111"/>
                </a:solidFill>
                <a:latin typeface="+mn-ea"/>
              </a:rPr>
              <a:t>和範疇 </a:t>
            </a:r>
            <a:r>
              <a:rPr lang="en-US" altLang="zh-TW" sz="8000">
                <a:solidFill>
                  <a:srgbClr val="111111"/>
                </a:solidFill>
                <a:latin typeface="+mn-ea"/>
              </a:rPr>
              <a:t>3 </a:t>
            </a:r>
            <a:r>
              <a:rPr lang="zh-TW" altLang="en-US" sz="8000">
                <a:solidFill>
                  <a:srgbClr val="111111"/>
                </a:solidFill>
                <a:latin typeface="+mn-ea"/>
              </a:rPr>
              <a:t>的溫室氣體排放數據 </a:t>
            </a:r>
            <a:r>
              <a:rPr lang="en-US" altLang="zh-TW" sz="7200">
                <a:latin typeface="+mn-ea"/>
              </a:rPr>
              <a:t>Disclose and provide your company‘s GHG Scope 1, 2, and 3 emissions by 2027.</a:t>
            </a:r>
          </a:p>
          <a:p>
            <a:pPr lvl="1">
              <a:buFont typeface="Wingdings" panose="05000000000000000000" pitchFamily="2" charset="2"/>
              <a:buChar char=""/>
            </a:pPr>
            <a:endParaRPr lang="en-US" altLang="zh-TW" sz="4000">
              <a:latin typeface="+mn-ea"/>
            </a:endParaRPr>
          </a:p>
          <a:p>
            <a:pPr>
              <a:buFont typeface="Wingdings" panose="05000000000000000000" pitchFamily="2" charset="2"/>
              <a:buChar char=""/>
            </a:pPr>
            <a:r>
              <a:rPr lang="zh-TW" altLang="en-US" sz="8000" b="1" i="0">
                <a:solidFill>
                  <a:srgbClr val="111111"/>
                </a:solidFill>
                <a:effectLst/>
                <a:latin typeface="+mn-ea"/>
              </a:rPr>
              <a:t>設定 </a:t>
            </a:r>
            <a:r>
              <a:rPr lang="en-US" altLang="zh-TW" sz="8000" b="1" i="0">
                <a:solidFill>
                  <a:srgbClr val="111111"/>
                </a:solidFill>
                <a:effectLst/>
                <a:latin typeface="+mn-ea"/>
              </a:rPr>
              <a:t>2030 </a:t>
            </a:r>
            <a:r>
              <a:rPr lang="zh-TW" altLang="en-US" sz="8000" b="1" i="0">
                <a:solidFill>
                  <a:srgbClr val="111111"/>
                </a:solidFill>
                <a:effectLst/>
                <a:latin typeface="+mn-ea"/>
              </a:rPr>
              <a:t>年溫室氣體減排目標 </a:t>
            </a:r>
            <a:r>
              <a:rPr lang="en-US" altLang="zh-TW" sz="8000" b="1">
                <a:latin typeface="+mn-ea"/>
              </a:rPr>
              <a:t>Setting 2030 GHG Emission Reduction Goal</a:t>
            </a:r>
          </a:p>
          <a:p>
            <a:pPr lvl="1">
              <a:buFont typeface="Wingdings" panose="05000000000000000000" pitchFamily="2" charset="2"/>
              <a:buChar char=""/>
            </a:pPr>
            <a:r>
              <a:rPr lang="en-US" altLang="zh-TW" sz="8000" b="0" i="0">
                <a:solidFill>
                  <a:srgbClr val="111111"/>
                </a:solidFill>
                <a:effectLst/>
                <a:latin typeface="+mn-ea"/>
              </a:rPr>
              <a:t>2027 </a:t>
            </a:r>
            <a:r>
              <a:rPr lang="zh-TW" altLang="en-US" sz="8000" b="0" i="0">
                <a:solidFill>
                  <a:srgbClr val="111111"/>
                </a:solidFill>
                <a:effectLst/>
                <a:latin typeface="+mn-ea"/>
              </a:rPr>
              <a:t>年前建立溫室氣體 </a:t>
            </a:r>
            <a:r>
              <a:rPr lang="en-US" altLang="zh-TW" sz="8000" b="0" i="0">
                <a:solidFill>
                  <a:srgbClr val="111111"/>
                </a:solidFill>
                <a:effectLst/>
                <a:latin typeface="+mn-ea"/>
              </a:rPr>
              <a:t>(GHG) </a:t>
            </a:r>
            <a:r>
              <a:rPr lang="zh-TW" altLang="en-US" sz="8000" b="0" i="0">
                <a:solidFill>
                  <a:srgbClr val="111111"/>
                </a:solidFill>
                <a:effectLst/>
                <a:latin typeface="+mn-ea"/>
              </a:rPr>
              <a:t>排放基線並設定減排目標 </a:t>
            </a:r>
            <a:r>
              <a:rPr lang="en-US" altLang="zh-TW" sz="7200">
                <a:latin typeface="+mn-ea"/>
              </a:rPr>
              <a:t>Establishing a greenhouse gas (GHG) baseline and reduction targets by 2027.</a:t>
            </a:r>
          </a:p>
          <a:p>
            <a:pPr>
              <a:buFont typeface="Wingdings" panose="05000000000000000000" pitchFamily="2" charset="2"/>
              <a:buChar char=""/>
            </a:pPr>
            <a:endParaRPr lang="zh-TW" altLang="en-US" sz="2000"/>
          </a:p>
        </p:txBody>
      </p:sp>
    </p:spTree>
    <p:extLst>
      <p:ext uri="{BB962C8B-B14F-4D97-AF65-F5344CB8AC3E}">
        <p14:creationId xmlns:p14="http://schemas.microsoft.com/office/powerpoint/2010/main" val="4182907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F03365CA-520B-442D-95FE-38AF582642FE}"/>
              </a:ext>
            </a:extLst>
          </p:cNvPr>
          <p:cNvSpPr>
            <a:spLocks noGrp="1"/>
          </p:cNvSpPr>
          <p:nvPr>
            <p:ph type="ctrTitle"/>
          </p:nvPr>
        </p:nvSpPr>
        <p:spPr>
          <a:xfrm>
            <a:off x="1571724" y="2841983"/>
            <a:ext cx="5600700" cy="664797"/>
          </a:xfrm>
        </p:spPr>
        <p:txBody>
          <a:bodyPr/>
          <a:lstStyle/>
          <a:p>
            <a:r>
              <a:rPr lang="en-US" altLang="zh-TW" sz="2400" b="1"/>
              <a:t>Regulatory Affairs</a:t>
            </a:r>
            <a:br>
              <a:rPr lang="en-US" altLang="zh-TW" sz="2400" b="1"/>
            </a:br>
            <a:r>
              <a:rPr lang="en-US" altLang="zh-TW" sz="2400" b="1"/>
              <a:t>		by Winnie Chen</a:t>
            </a:r>
            <a:endParaRPr lang="zh-TW" altLang="en-US" sz="2400" b="1"/>
          </a:p>
        </p:txBody>
      </p:sp>
    </p:spTree>
    <p:extLst>
      <p:ext uri="{BB962C8B-B14F-4D97-AF65-F5344CB8AC3E}">
        <p14:creationId xmlns:p14="http://schemas.microsoft.com/office/powerpoint/2010/main" val="1141771728"/>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2"/>
          <p:cNvSpPr txBox="1">
            <a:spLocks/>
          </p:cNvSpPr>
          <p:nvPr/>
        </p:nvSpPr>
        <p:spPr>
          <a:xfrm>
            <a:off x="609600" y="983599"/>
            <a:ext cx="5486400" cy="443198"/>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pPr>
              <a:defRPr/>
            </a:pPr>
            <a:r>
              <a:rPr lang="en-US" altLang="zh-TW" sz="3200"/>
              <a:t>Agenda</a:t>
            </a:r>
          </a:p>
        </p:txBody>
      </p:sp>
      <p:sp>
        <p:nvSpPr>
          <p:cNvPr id="34" name="Rectangle 33">
            <a:extLst>
              <a:ext uri="{FF2B5EF4-FFF2-40B4-BE49-F238E27FC236}">
                <a16:creationId xmlns:a16="http://schemas.microsoft.com/office/drawing/2014/main" id="{FAA627F1-0151-4686-9D5A-1285F514E115}"/>
              </a:ext>
            </a:extLst>
          </p:cNvPr>
          <p:cNvSpPr/>
          <p:nvPr/>
        </p:nvSpPr>
        <p:spPr>
          <a:xfrm>
            <a:off x="609600" y="2026855"/>
            <a:ext cx="533398" cy="35047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Ins="91440" rtlCol="0" anchor="ctr"/>
          <a:lstStyle/>
          <a:p>
            <a:pPr algn="ctr"/>
            <a:r>
              <a:rPr lang="en-US" sz="1400" b="1">
                <a:solidFill>
                  <a:schemeClr val="bg1"/>
                </a:solidFill>
              </a:rPr>
              <a:t>1</a:t>
            </a:r>
          </a:p>
        </p:txBody>
      </p:sp>
      <p:cxnSp>
        <p:nvCxnSpPr>
          <p:cNvPr id="9" name="Straight Connector 8">
            <a:extLst>
              <a:ext uri="{FF2B5EF4-FFF2-40B4-BE49-F238E27FC236}">
                <a16:creationId xmlns:a16="http://schemas.microsoft.com/office/drawing/2014/main" id="{5F4520CD-5532-45D1-8406-A2E659FF189D}"/>
              </a:ext>
            </a:extLst>
          </p:cNvPr>
          <p:cNvCxnSpPr>
            <a:cxnSpLocks/>
          </p:cNvCxnSpPr>
          <p:nvPr/>
        </p:nvCxnSpPr>
        <p:spPr>
          <a:xfrm>
            <a:off x="1305310" y="2510925"/>
            <a:ext cx="4084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2BF48BD-7A47-4DF1-B0B9-AECC9665B338}"/>
              </a:ext>
            </a:extLst>
          </p:cNvPr>
          <p:cNvCxnSpPr>
            <a:cxnSpLocks/>
          </p:cNvCxnSpPr>
          <p:nvPr/>
        </p:nvCxnSpPr>
        <p:spPr>
          <a:xfrm>
            <a:off x="1303598" y="3915622"/>
            <a:ext cx="4084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741ACFE2-E94D-4E73-B997-99E1BD34A4B4}"/>
              </a:ext>
            </a:extLst>
          </p:cNvPr>
          <p:cNvSpPr/>
          <p:nvPr/>
        </p:nvSpPr>
        <p:spPr>
          <a:xfrm>
            <a:off x="607888" y="3429000"/>
            <a:ext cx="533398" cy="35047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Ins="91440" rtlCol="0" anchor="ctr"/>
          <a:lstStyle/>
          <a:p>
            <a:pPr algn="ctr"/>
            <a:r>
              <a:rPr lang="en-US" sz="1400" b="1">
                <a:solidFill>
                  <a:schemeClr val="bg1"/>
                </a:solidFill>
              </a:rPr>
              <a:t>3</a:t>
            </a:r>
          </a:p>
        </p:txBody>
      </p:sp>
      <p:sp>
        <p:nvSpPr>
          <p:cNvPr id="25" name="Rectangle 24">
            <a:extLst>
              <a:ext uri="{FF2B5EF4-FFF2-40B4-BE49-F238E27FC236}">
                <a16:creationId xmlns:a16="http://schemas.microsoft.com/office/drawing/2014/main" id="{3D4EFE8B-6AE8-4272-A5D6-A84AF6347CBD}"/>
              </a:ext>
            </a:extLst>
          </p:cNvPr>
          <p:cNvSpPr/>
          <p:nvPr/>
        </p:nvSpPr>
        <p:spPr>
          <a:xfrm>
            <a:off x="1303962" y="2040297"/>
            <a:ext cx="446343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altLang="is-IS" b="1">
                <a:solidFill>
                  <a:schemeClr val="tx1"/>
                </a:solidFill>
              </a:rPr>
              <a:t>RA participation</a:t>
            </a:r>
          </a:p>
        </p:txBody>
      </p:sp>
      <p:sp>
        <p:nvSpPr>
          <p:cNvPr id="31" name="Rectangle 30">
            <a:extLst>
              <a:ext uri="{FF2B5EF4-FFF2-40B4-BE49-F238E27FC236}">
                <a16:creationId xmlns:a16="http://schemas.microsoft.com/office/drawing/2014/main" id="{024F8135-A7ED-493B-87BF-78B4197659A7}"/>
              </a:ext>
            </a:extLst>
          </p:cNvPr>
          <p:cNvSpPr/>
          <p:nvPr/>
        </p:nvSpPr>
        <p:spPr>
          <a:xfrm>
            <a:off x="1310639" y="3354886"/>
            <a:ext cx="4084321" cy="5539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altLang="is-IS" b="1">
                <a:solidFill>
                  <a:schemeClr val="tx1"/>
                </a:solidFill>
              </a:rPr>
              <a:t>Variation approval timeline/Current challenges</a:t>
            </a:r>
          </a:p>
        </p:txBody>
      </p:sp>
      <p:sp>
        <p:nvSpPr>
          <p:cNvPr id="18" name="Rectangle 17">
            <a:extLst>
              <a:ext uri="{FF2B5EF4-FFF2-40B4-BE49-F238E27FC236}">
                <a16:creationId xmlns:a16="http://schemas.microsoft.com/office/drawing/2014/main" id="{C81DD0C1-0571-49FE-8D8A-D73C7ECA4C9C}"/>
              </a:ext>
            </a:extLst>
          </p:cNvPr>
          <p:cNvSpPr/>
          <p:nvPr/>
        </p:nvSpPr>
        <p:spPr>
          <a:xfrm>
            <a:off x="1294158" y="4141289"/>
            <a:ext cx="4084321"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endParaRPr lang="en-US" altLang="is-IS" sz="1600">
              <a:solidFill>
                <a:schemeClr val="tx1"/>
              </a:solidFill>
            </a:endParaRPr>
          </a:p>
        </p:txBody>
      </p:sp>
      <p:sp>
        <p:nvSpPr>
          <p:cNvPr id="11" name="Rectangle 33">
            <a:extLst>
              <a:ext uri="{FF2B5EF4-FFF2-40B4-BE49-F238E27FC236}">
                <a16:creationId xmlns:a16="http://schemas.microsoft.com/office/drawing/2014/main" id="{4DC2DD53-A8C2-A079-4612-935CAB349D1B}"/>
              </a:ext>
            </a:extLst>
          </p:cNvPr>
          <p:cNvSpPr/>
          <p:nvPr/>
        </p:nvSpPr>
        <p:spPr>
          <a:xfrm>
            <a:off x="600180" y="2716711"/>
            <a:ext cx="533398" cy="35047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Ins="91440" rtlCol="0" anchor="ctr"/>
          <a:lstStyle/>
          <a:p>
            <a:pPr algn="ctr"/>
            <a:r>
              <a:rPr lang="en-US" sz="1400" b="1">
                <a:solidFill>
                  <a:schemeClr val="bg1"/>
                </a:solidFill>
              </a:rPr>
              <a:t>2</a:t>
            </a:r>
          </a:p>
        </p:txBody>
      </p:sp>
      <p:cxnSp>
        <p:nvCxnSpPr>
          <p:cNvPr id="14" name="Straight Connector 25">
            <a:extLst>
              <a:ext uri="{FF2B5EF4-FFF2-40B4-BE49-F238E27FC236}">
                <a16:creationId xmlns:a16="http://schemas.microsoft.com/office/drawing/2014/main" id="{D8E2CA52-BF39-732E-F4F3-02DF2752B0C2}"/>
              </a:ext>
            </a:extLst>
          </p:cNvPr>
          <p:cNvCxnSpPr>
            <a:cxnSpLocks/>
          </p:cNvCxnSpPr>
          <p:nvPr/>
        </p:nvCxnSpPr>
        <p:spPr>
          <a:xfrm>
            <a:off x="1310639" y="3171552"/>
            <a:ext cx="408432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30">
            <a:extLst>
              <a:ext uri="{FF2B5EF4-FFF2-40B4-BE49-F238E27FC236}">
                <a16:creationId xmlns:a16="http://schemas.microsoft.com/office/drawing/2014/main" id="{B064538C-0A77-8876-6E9D-0A1ADC72B3B8}"/>
              </a:ext>
            </a:extLst>
          </p:cNvPr>
          <p:cNvSpPr/>
          <p:nvPr/>
        </p:nvSpPr>
        <p:spPr>
          <a:xfrm>
            <a:off x="1292445" y="2734041"/>
            <a:ext cx="408432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altLang="is-IS" b="1">
                <a:solidFill>
                  <a:schemeClr val="tx1"/>
                </a:solidFill>
              </a:rPr>
              <a:t>Requirement for submission</a:t>
            </a:r>
            <a:r>
              <a:rPr lang="en-US" altLang="is-IS" b="1">
                <a:solidFill>
                  <a:schemeClr val="tx1"/>
                </a:solidFill>
                <a:latin typeface="Calibri" panose="020F0502020204030204" pitchFamily="34" charset="0"/>
                <a:ea typeface="新細明體" panose="02020500000000000000" pitchFamily="18" charset="-120"/>
              </a:rPr>
              <a:t> </a:t>
            </a:r>
            <a:endParaRPr lang="en-US" altLang="is-IS" b="1">
              <a:solidFill>
                <a:schemeClr val="tx1"/>
              </a:solidFill>
            </a:endParaRPr>
          </a:p>
        </p:txBody>
      </p:sp>
    </p:spTree>
    <p:extLst>
      <p:ext uri="{BB962C8B-B14F-4D97-AF65-F5344CB8AC3E}">
        <p14:creationId xmlns:p14="http://schemas.microsoft.com/office/powerpoint/2010/main" val="1150504183"/>
      </p:ext>
    </p:extLst>
  </p:cSld>
  <p:clrMapOvr>
    <a:masterClrMapping/>
  </p:clrMapOvr>
  <mc:AlternateContent xmlns:mc="http://schemas.openxmlformats.org/markup-compatibility/2006" xmlns:p14="http://schemas.microsoft.com/office/powerpoint/2010/main">
    <mc:Choice Requires="p14">
      <p:transition spd="slow" p14:dur="2000">
        <p:cut/>
      </p:transition>
    </mc:Choice>
    <mc:Fallback xmlns="">
      <p:transition spd="slow">
        <p:cu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標題 2">
            <a:extLst>
              <a:ext uri="{FF2B5EF4-FFF2-40B4-BE49-F238E27FC236}">
                <a16:creationId xmlns:a16="http://schemas.microsoft.com/office/drawing/2014/main" id="{36703440-3D6F-431D-B581-A9733AAE2502}"/>
              </a:ext>
            </a:extLst>
          </p:cNvPr>
          <p:cNvSpPr>
            <a:spLocks noGrp="1"/>
          </p:cNvSpPr>
          <p:nvPr>
            <p:ph type="title"/>
          </p:nvPr>
        </p:nvSpPr>
        <p:spPr/>
        <p:txBody>
          <a:bodyPr/>
          <a:lstStyle/>
          <a:p>
            <a:r>
              <a:rPr lang="en-US" altLang="zh-TW"/>
              <a:t>RA</a:t>
            </a:r>
            <a:r>
              <a:rPr lang="zh-TW" altLang="en-US"/>
              <a:t> </a:t>
            </a:r>
            <a:r>
              <a:rPr lang="en-US" altLang="zh-TW"/>
              <a:t>Participation!! </a:t>
            </a:r>
            <a:endParaRPr lang="en-US"/>
          </a:p>
        </p:txBody>
      </p:sp>
      <p:sp>
        <p:nvSpPr>
          <p:cNvPr id="5" name="內容版面配置區 4">
            <a:extLst>
              <a:ext uri="{FF2B5EF4-FFF2-40B4-BE49-F238E27FC236}">
                <a16:creationId xmlns:a16="http://schemas.microsoft.com/office/drawing/2014/main" id="{3CF52243-1C38-4CCE-B6F5-4E7FBA149F92}"/>
              </a:ext>
            </a:extLst>
          </p:cNvPr>
          <p:cNvSpPr>
            <a:spLocks noGrp="1"/>
          </p:cNvSpPr>
          <p:nvPr>
            <p:ph sz="half" idx="1"/>
          </p:nvPr>
        </p:nvSpPr>
        <p:spPr>
          <a:xfrm>
            <a:off x="811389" y="1388706"/>
            <a:ext cx="5191478" cy="5071362"/>
          </a:xfrm>
        </p:spPr>
        <p:txBody>
          <a:bodyPr>
            <a:normAutofit fontScale="92500"/>
          </a:bodyPr>
          <a:lstStyle/>
          <a:p>
            <a:r>
              <a:rPr lang="en-US" b="1" u="sng"/>
              <a:t>Product development</a:t>
            </a:r>
          </a:p>
          <a:p>
            <a:pPr marL="285750" indent="-285750">
              <a:buFont typeface="Arial" panose="020B0604020202020204" pitchFamily="34" charset="0"/>
              <a:buChar char="•"/>
            </a:pPr>
            <a:r>
              <a:rPr lang="en-US"/>
              <a:t>Regulatory feasibility for different markets</a:t>
            </a:r>
          </a:p>
          <a:p>
            <a:pPr marL="285750" indent="-285750">
              <a:buFont typeface="Arial" panose="020B0604020202020204" pitchFamily="34" charset="0"/>
              <a:buChar char="•"/>
            </a:pPr>
            <a:r>
              <a:rPr lang="en-US"/>
              <a:t>Regulatory opinions and advise</a:t>
            </a:r>
          </a:p>
          <a:p>
            <a:pPr marL="285750" indent="-285750">
              <a:buFont typeface="Arial" panose="020B0604020202020204" pitchFamily="34" charset="0"/>
              <a:buChar char="•"/>
            </a:pPr>
            <a:r>
              <a:rPr lang="en-US"/>
              <a:t>Consultation to the regulatory agency</a:t>
            </a:r>
          </a:p>
          <a:p>
            <a:pPr marL="285750" indent="-285750">
              <a:buFont typeface="Arial" panose="020B0604020202020204" pitchFamily="34" charset="0"/>
              <a:buChar char="•"/>
            </a:pPr>
            <a:r>
              <a:rPr lang="en-US"/>
              <a:t>Provide regulatory strategy for each region/market based on the IP/exclusivity status and dossier availability</a:t>
            </a:r>
          </a:p>
          <a:p>
            <a:endParaRPr lang="en-US" b="1" u="sng"/>
          </a:p>
          <a:p>
            <a:r>
              <a:rPr lang="en-US" b="1" u="sng"/>
              <a:t>Submission</a:t>
            </a:r>
          </a:p>
          <a:p>
            <a:pPr marL="285750" indent="-285750">
              <a:buFont typeface="Arial" panose="020B0604020202020204" pitchFamily="34" charset="0"/>
              <a:buChar char="•"/>
            </a:pPr>
            <a:r>
              <a:rPr lang="en-US" altLang="zh-TW"/>
              <a:t>CTD</a:t>
            </a:r>
            <a:r>
              <a:rPr lang="zh-TW" altLang="en-US"/>
              <a:t> </a:t>
            </a:r>
            <a:r>
              <a:rPr lang="en-US"/>
              <a:t>writeup</a:t>
            </a:r>
          </a:p>
          <a:p>
            <a:pPr marL="285750" indent="-285750">
              <a:buFont typeface="Arial" panose="020B0604020202020204" pitchFamily="34" charset="0"/>
              <a:buChar char="•"/>
            </a:pPr>
            <a:r>
              <a:rPr lang="en-US"/>
              <a:t>Dossier preparation and submission</a:t>
            </a:r>
          </a:p>
          <a:p>
            <a:pPr marL="285750" indent="-285750">
              <a:buFont typeface="Arial" panose="020B0604020202020204" pitchFamily="34" charset="0"/>
              <a:buChar char="•"/>
            </a:pPr>
            <a:r>
              <a:rPr lang="en-US"/>
              <a:t>Deficiency letter management</a:t>
            </a:r>
          </a:p>
          <a:p>
            <a:pPr marL="285750" indent="-285750">
              <a:buFont typeface="Arial" panose="020B0604020202020204" pitchFamily="34" charset="0"/>
              <a:buChar char="•"/>
            </a:pPr>
            <a:r>
              <a:rPr lang="en-US"/>
              <a:t>B2B customer submission communication</a:t>
            </a:r>
          </a:p>
          <a:p>
            <a:pPr marL="285750" indent="-285750">
              <a:buFont typeface="Arial" panose="020B0604020202020204" pitchFamily="34" charset="0"/>
              <a:buChar char="•"/>
            </a:pPr>
            <a:r>
              <a:rPr lang="en-US"/>
              <a:t>Label preparation for timely product launch</a:t>
            </a:r>
          </a:p>
          <a:p>
            <a:endParaRPr lang="en-US"/>
          </a:p>
        </p:txBody>
      </p:sp>
      <p:sp>
        <p:nvSpPr>
          <p:cNvPr id="6" name="內容版面配置區 5">
            <a:extLst>
              <a:ext uri="{FF2B5EF4-FFF2-40B4-BE49-F238E27FC236}">
                <a16:creationId xmlns:a16="http://schemas.microsoft.com/office/drawing/2014/main" id="{BF037772-2754-4565-870B-C9510E4BD715}"/>
              </a:ext>
            </a:extLst>
          </p:cNvPr>
          <p:cNvSpPr>
            <a:spLocks noGrp="1"/>
          </p:cNvSpPr>
          <p:nvPr>
            <p:ph sz="half" idx="2"/>
          </p:nvPr>
        </p:nvSpPr>
        <p:spPr>
          <a:xfrm>
            <a:off x="6398381" y="1392809"/>
            <a:ext cx="4405086" cy="4072382"/>
          </a:xfrm>
        </p:spPr>
        <p:txBody>
          <a:bodyPr/>
          <a:lstStyle/>
          <a:p>
            <a:r>
              <a:rPr lang="en-US" b="1" u="sng"/>
              <a:t>Post approval</a:t>
            </a:r>
          </a:p>
          <a:p>
            <a:pPr marL="285750" indent="-285750">
              <a:buFont typeface="Arial" panose="020B0604020202020204" pitchFamily="34" charset="0"/>
              <a:buChar char="•"/>
            </a:pPr>
            <a:r>
              <a:rPr lang="en-US"/>
              <a:t>Product lifecycle management</a:t>
            </a:r>
          </a:p>
          <a:p>
            <a:pPr marL="285750" indent="-285750">
              <a:buFont typeface="Arial" panose="020B0604020202020204" pitchFamily="34" charset="0"/>
              <a:buChar char="•"/>
            </a:pPr>
            <a:r>
              <a:rPr lang="en-US"/>
              <a:t>License renewal</a:t>
            </a:r>
          </a:p>
          <a:p>
            <a:pPr marL="285750" indent="-285750">
              <a:buFont typeface="Arial" panose="020B0604020202020204" pitchFamily="34" charset="0"/>
              <a:buChar char="•"/>
            </a:pPr>
            <a:r>
              <a:rPr lang="en-US"/>
              <a:t>Labelling renewal</a:t>
            </a:r>
          </a:p>
          <a:p>
            <a:pPr marL="285750" indent="-285750">
              <a:buFont typeface="Arial" panose="020B0604020202020204" pitchFamily="34" charset="0"/>
              <a:buChar char="•"/>
            </a:pPr>
            <a:r>
              <a:rPr lang="en-US" altLang="zh-TW"/>
              <a:t>Pharmacovigilance</a:t>
            </a:r>
            <a:endParaRPr lang="en-US"/>
          </a:p>
        </p:txBody>
      </p:sp>
      <p:sp>
        <p:nvSpPr>
          <p:cNvPr id="2" name="投影片編號版面配置區 1">
            <a:extLst>
              <a:ext uri="{FF2B5EF4-FFF2-40B4-BE49-F238E27FC236}">
                <a16:creationId xmlns:a16="http://schemas.microsoft.com/office/drawing/2014/main" id="{3B28D69D-E4BE-44DF-8FD9-26ECFD436D0D}"/>
              </a:ext>
            </a:extLst>
          </p:cNvPr>
          <p:cNvSpPr>
            <a:spLocks noGrp="1"/>
          </p:cNvSpPr>
          <p:nvPr>
            <p:ph type="sldNum" sz="quarter" idx="12"/>
          </p:nvPr>
        </p:nvSpPr>
        <p:spPr/>
        <p:txBody>
          <a:bodyPr/>
          <a:lstStyle/>
          <a:p>
            <a:fld id="{E54D4C07-743B-0D44-AAC2-6E295D0BB7B9}" type="slidenum">
              <a:rPr lang="en-US" smtClean="0">
                <a:solidFill>
                  <a:srgbClr val="5D5C63"/>
                </a:solidFill>
              </a:rPr>
              <a:pPr/>
              <a:t>7</a:t>
            </a:fld>
            <a:endParaRPr lang="en-US">
              <a:solidFill>
                <a:srgbClr val="5D5C63"/>
              </a:solidFill>
            </a:endParaRPr>
          </a:p>
        </p:txBody>
      </p:sp>
    </p:spTree>
    <p:extLst>
      <p:ext uri="{BB962C8B-B14F-4D97-AF65-F5344CB8AC3E}">
        <p14:creationId xmlns:p14="http://schemas.microsoft.com/office/powerpoint/2010/main" val="30010591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id="{E2290697-7C94-EC9E-7708-DACA9D6D0CFC}"/>
              </a:ext>
            </a:extLst>
          </p:cNvPr>
          <p:cNvSpPr>
            <a:spLocks noGrp="1"/>
          </p:cNvSpPr>
          <p:nvPr>
            <p:ph type="title"/>
          </p:nvPr>
        </p:nvSpPr>
        <p:spPr>
          <a:xfrm>
            <a:off x="334522" y="210320"/>
            <a:ext cx="5693746" cy="341970"/>
          </a:xfrm>
        </p:spPr>
        <p:txBody>
          <a:bodyPr/>
          <a:lstStyle/>
          <a:p>
            <a:r>
              <a:rPr lang="en-US" altLang="zh-TW"/>
              <a:t>Requirement for submission</a:t>
            </a:r>
            <a:endParaRPr lang="zh-TW" altLang="en-US"/>
          </a:p>
        </p:txBody>
      </p:sp>
      <p:sp>
        <p:nvSpPr>
          <p:cNvPr id="3" name="投影片編號版面配置區 2">
            <a:extLst>
              <a:ext uri="{FF2B5EF4-FFF2-40B4-BE49-F238E27FC236}">
                <a16:creationId xmlns:a16="http://schemas.microsoft.com/office/drawing/2014/main" id="{ED4E71ED-3D41-54F3-F8B9-89358ABD2BEC}"/>
              </a:ext>
            </a:extLst>
          </p:cNvPr>
          <p:cNvSpPr>
            <a:spLocks noGrp="1"/>
          </p:cNvSpPr>
          <p:nvPr>
            <p:ph type="sldNum" sz="quarter" idx="4"/>
          </p:nvPr>
        </p:nvSpPr>
        <p:spPr>
          <a:xfrm>
            <a:off x="11119557" y="6011280"/>
            <a:ext cx="676910" cy="588863"/>
          </a:xfrm>
          <a:prstGeom prst="rect">
            <a:avLst/>
          </a:prstGeom>
          <a:solidFill>
            <a:schemeClr val="accent1"/>
          </a:solidFill>
          <a:ln>
            <a:noFill/>
          </a:ln>
        </p:spPr>
        <p:txBody>
          <a:bodyPr anchor="ctr"/>
          <a:lstStyle>
            <a:defPPr>
              <a:defRPr lang="en-US"/>
            </a:defPPr>
            <a:lvl1pPr marL="0" algn="ctr" defTabSz="914400" rtl="0" eaLnBrk="1" latinLnBrk="0" hangingPunct="1">
              <a:defRPr lang="en-US" sz="120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C0C40C3-3CCF-4B11-80C9-BCC62D2234EE}" type="slidenum">
              <a:rPr lang="en-US" altLang="zh-TW" smtClean="0"/>
              <a:pPr/>
              <a:t>8</a:t>
            </a:fld>
            <a:endParaRPr lang="en-US"/>
          </a:p>
        </p:txBody>
      </p:sp>
      <p:sp>
        <p:nvSpPr>
          <p:cNvPr id="4" name="頁尾版面配置區 3">
            <a:extLst>
              <a:ext uri="{FF2B5EF4-FFF2-40B4-BE49-F238E27FC236}">
                <a16:creationId xmlns:a16="http://schemas.microsoft.com/office/drawing/2014/main" id="{ACC7497A-75B2-97EE-1F3A-E4ABEB879761}"/>
              </a:ext>
            </a:extLst>
          </p:cNvPr>
          <p:cNvSpPr>
            <a:spLocks noGrp="1"/>
          </p:cNvSpPr>
          <p:nvPr>
            <p:ph type="ftr" sz="quarter" idx="3"/>
          </p:nvPr>
        </p:nvSpPr>
        <p:spPr>
          <a:xfrm>
            <a:off x="7780921" y="6415568"/>
            <a:ext cx="2406338" cy="232113"/>
          </a:xfrm>
          <a:prstGeom prst="rect">
            <a:avLst/>
          </a:prstGeom>
        </p:spPr>
        <p:txBody>
          <a:bodyPr anchor="ctr"/>
          <a:lstStyle>
            <a:defPPr>
              <a:defRPr lang="en-US"/>
            </a:defPPr>
            <a:lvl1pPr marL="0" algn="l" defTabSz="914400" rtl="0" eaLnBrk="1" latinLnBrk="0" hangingPunct="1">
              <a:defRPr lang="en-US" sz="800" kern="1200" smtClean="0">
                <a:solidFill>
                  <a:schemeClr val="accent5"/>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 2019 ALVOTECH. ALL RIGHTS RESERVED</a:t>
            </a:r>
          </a:p>
        </p:txBody>
      </p:sp>
      <p:graphicFrame>
        <p:nvGraphicFramePr>
          <p:cNvPr id="5" name="表格 4">
            <a:extLst>
              <a:ext uri="{FF2B5EF4-FFF2-40B4-BE49-F238E27FC236}">
                <a16:creationId xmlns:a16="http://schemas.microsoft.com/office/drawing/2014/main" id="{D2B2DFF5-B77C-6240-8F27-726A89B738D2}"/>
              </a:ext>
            </a:extLst>
          </p:cNvPr>
          <p:cNvGraphicFramePr>
            <a:graphicFrameLocks noGrp="1"/>
          </p:cNvGraphicFramePr>
          <p:nvPr/>
        </p:nvGraphicFramePr>
        <p:xfrm>
          <a:off x="334521" y="804360"/>
          <a:ext cx="10785036" cy="5501351"/>
        </p:xfrm>
        <a:graphic>
          <a:graphicData uri="http://schemas.openxmlformats.org/drawingml/2006/table">
            <a:tbl>
              <a:tblPr/>
              <a:tblGrid>
                <a:gridCol w="3595012">
                  <a:extLst>
                    <a:ext uri="{9D8B030D-6E8A-4147-A177-3AD203B41FA5}">
                      <a16:colId xmlns:a16="http://schemas.microsoft.com/office/drawing/2014/main" val="18223095"/>
                    </a:ext>
                  </a:extLst>
                </a:gridCol>
                <a:gridCol w="3354187">
                  <a:extLst>
                    <a:ext uri="{9D8B030D-6E8A-4147-A177-3AD203B41FA5}">
                      <a16:colId xmlns:a16="http://schemas.microsoft.com/office/drawing/2014/main" val="2230415887"/>
                    </a:ext>
                  </a:extLst>
                </a:gridCol>
                <a:gridCol w="3835837">
                  <a:extLst>
                    <a:ext uri="{9D8B030D-6E8A-4147-A177-3AD203B41FA5}">
                      <a16:colId xmlns:a16="http://schemas.microsoft.com/office/drawing/2014/main" val="3884930956"/>
                    </a:ext>
                  </a:extLst>
                </a:gridCol>
              </a:tblGrid>
              <a:tr h="305852">
                <a:tc>
                  <a:txBody>
                    <a:bodyPr/>
                    <a:lstStyle/>
                    <a:p>
                      <a:pPr algn="l" fontAlgn="t"/>
                      <a:r>
                        <a:rPr lang="nl-NL" sz="1400" b="1"/>
                        <a:t>Drug Substanc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t"/>
                      <a:r>
                        <a:rPr lang="nl-NL" sz="1400" b="1"/>
                        <a:t>Excipient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40000"/>
                        <a:lumOff val="60000"/>
                      </a:schemeClr>
                    </a:solidFill>
                  </a:tcPr>
                </a:tc>
                <a:tc>
                  <a:txBody>
                    <a:bodyPr/>
                    <a:lstStyle/>
                    <a:p>
                      <a:pPr algn="l" fontAlgn="t"/>
                      <a:r>
                        <a:rPr lang="en-US" altLang="zh-TW" sz="1400" b="1"/>
                        <a:t>Package materials</a:t>
                      </a:r>
                      <a:endParaRPr lang="nl-NL" sz="1400" b="1"/>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3161275352"/>
                  </a:ext>
                </a:extLst>
              </a:tr>
              <a:tr h="194733">
                <a:tc>
                  <a:txBody>
                    <a:bodyPr/>
                    <a:lstStyle/>
                    <a:p>
                      <a:pPr algn="l" fontAlgn="t"/>
                      <a:r>
                        <a:rPr lang="nl-NL" sz="1400">
                          <a:solidFill>
                            <a:schemeClr val="tx2">
                              <a:lumMod val="75000"/>
                            </a:schemeClr>
                          </a:solidFill>
                        </a:rPr>
                        <a:t>DMF/ASMF in ICH eCTD structur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nl-NL" altLang="zh-TW" sz="1400"/>
                        <a:t>Vendor COA</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nl-NL" sz="1400"/>
                        <a:t>Vendor COA</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7634555"/>
                  </a:ext>
                </a:extLst>
              </a:tr>
              <a:tr h="1240026">
                <a:tc>
                  <a:txBody>
                    <a:bodyPr/>
                    <a:lstStyle/>
                    <a:p>
                      <a:pPr algn="l" fontAlgn="t"/>
                      <a:r>
                        <a:rPr lang="nl-NL" sz="1400">
                          <a:solidFill>
                            <a:schemeClr val="tx2">
                              <a:lumMod val="75000"/>
                            </a:schemeClr>
                          </a:solidFill>
                        </a:rPr>
                        <a:t>Elemental Impurity Assessment</a:t>
                      </a:r>
                      <a:r>
                        <a:rPr lang="nl-NL" altLang="zh-TW" sz="1400">
                          <a:solidFill>
                            <a:schemeClr val="tx2">
                              <a:lumMod val="75000"/>
                            </a:schemeClr>
                          </a:solidFill>
                        </a:rPr>
                        <a:t>with analysis result</a:t>
                      </a:r>
                      <a:endParaRPr lang="nl-NL" sz="1400">
                        <a:solidFill>
                          <a:schemeClr val="tx2">
                            <a:lumMod val="75000"/>
                          </a:schemeClr>
                        </a:solidFill>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nl-NL" sz="1400">
                          <a:solidFill>
                            <a:schemeClr val="tx2">
                              <a:lumMod val="75000"/>
                            </a:schemeClr>
                          </a:solidFill>
                        </a:rPr>
                        <a:t>Elemental Impurity Assessment And Statem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1400"/>
                        <a:t>Suitable For Food And Drug Use Statement (Compliance Of Certificate For Bottle/Cap/Liner/Desiccant/Bulk LDPE </a:t>
                      </a:r>
                      <a:r>
                        <a:rPr lang="en-US" sz="1400">
                          <a:solidFill>
                            <a:schemeClr val="tx2">
                              <a:lumMod val="75000"/>
                            </a:schemeClr>
                          </a:solidFill>
                        </a:rPr>
                        <a:t>Bags) Should Complied With Following Regulatory:-10/2011</a:t>
                      </a:r>
                      <a:br>
                        <a:rPr lang="en-US" sz="1400">
                          <a:solidFill>
                            <a:schemeClr val="tx2">
                              <a:lumMod val="75000"/>
                            </a:schemeClr>
                          </a:solidFill>
                        </a:rPr>
                      </a:br>
                      <a:r>
                        <a:rPr lang="en-US" sz="1400">
                          <a:solidFill>
                            <a:schemeClr val="tx2">
                              <a:lumMod val="75000"/>
                            </a:schemeClr>
                          </a:solidFill>
                        </a:rPr>
                        <a:t>-</a:t>
                      </a:r>
                      <a:r>
                        <a:rPr lang="en-US" sz="1400" err="1">
                          <a:solidFill>
                            <a:schemeClr val="tx2">
                              <a:lumMod val="75000"/>
                            </a:schemeClr>
                          </a:solidFill>
                        </a:rPr>
                        <a:t>Ph.Eur</a:t>
                      </a:r>
                      <a:r>
                        <a:rPr lang="en-US" sz="1400">
                          <a:solidFill>
                            <a:schemeClr val="tx2">
                              <a:lumMod val="75000"/>
                            </a:schemeClr>
                          </a:solidFill>
                        </a:rPr>
                        <a:t>. 3.1.3</a:t>
                      </a:r>
                      <a:br>
                        <a:rPr lang="en-US" sz="1400">
                          <a:solidFill>
                            <a:schemeClr val="tx2">
                              <a:lumMod val="75000"/>
                            </a:schemeClr>
                          </a:solidFill>
                        </a:rPr>
                      </a:br>
                      <a:r>
                        <a:rPr lang="en-US" sz="1400">
                          <a:solidFill>
                            <a:schemeClr val="tx2">
                              <a:lumMod val="75000"/>
                            </a:schemeClr>
                          </a:solidFill>
                        </a:rPr>
                        <a:t>-Ph.Eur.3.2.2.</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65555383"/>
                  </a:ext>
                </a:extLst>
              </a:tr>
              <a:tr h="288219">
                <a:tc>
                  <a:txBody>
                    <a:bodyPr/>
                    <a:lstStyle/>
                    <a:p>
                      <a:pPr algn="l" fontAlgn="t"/>
                      <a:r>
                        <a:rPr lang="nl-NL" sz="1400">
                          <a:solidFill>
                            <a:schemeClr val="tx2">
                              <a:lumMod val="75000"/>
                            </a:schemeClr>
                          </a:solidFill>
                        </a:rPr>
                        <a:t>Nitrosamine Impurity Assessment with analysis resul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nl-NL" sz="1400">
                          <a:solidFill>
                            <a:schemeClr val="tx2">
                              <a:lumMod val="75000"/>
                            </a:schemeClr>
                          </a:solidFill>
                        </a:rPr>
                        <a:t>Nitrosamine Impurity Assessment And Statement and IPEC form</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nl-NL" sz="1400"/>
                        <a:t>Technical Data Shee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7504485"/>
                  </a:ext>
                </a:extLst>
              </a:tr>
              <a:tr h="144109">
                <a:tc>
                  <a:txBody>
                    <a:bodyPr/>
                    <a:lstStyle/>
                    <a:p>
                      <a:pPr algn="l" fontAlgn="t"/>
                      <a:r>
                        <a:rPr lang="nl-NL" sz="1400"/>
                        <a:t>Residual Solvent Statem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nl-NL" sz="1400"/>
                        <a:t>Residual Solvent Statem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1400"/>
                        <a:t>Cap/Bottle Drawing (If Availabl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71976437"/>
                  </a:ext>
                </a:extLst>
              </a:tr>
              <a:tr h="288219">
                <a:tc>
                  <a:txBody>
                    <a:bodyPr/>
                    <a:lstStyle/>
                    <a:p>
                      <a:pPr algn="l" fontAlgn="t"/>
                      <a:r>
                        <a:rPr lang="nl-NL" sz="1400"/>
                        <a:t>GMP from EU, US or other authoritative country</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nl-NL" sz="1400"/>
                        <a:t>Pork Free Statement, if applicabl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nl-NL" sz="1400"/>
                        <a:t>ISO- 8317 Certificate (Child Resistance)- EU</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7580415"/>
                  </a:ext>
                </a:extLst>
              </a:tr>
              <a:tr h="288219">
                <a:tc>
                  <a:txBody>
                    <a:bodyPr/>
                    <a:lstStyle/>
                    <a:p>
                      <a:pPr algn="l" fontAlgn="t"/>
                      <a:r>
                        <a:rPr lang="en-US" sz="1400"/>
                        <a:t>Manufacturing licens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nl-NL" sz="1400"/>
                        <a:t>Alcohol Free Statement</a:t>
                      </a:r>
                      <a:r>
                        <a:rPr lang="nl-NL" altLang="zh-TW" sz="1400"/>
                        <a:t>, if applicable</a:t>
                      </a:r>
                      <a:endParaRPr lang="nl-NL" sz="1400"/>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1400"/>
                        <a:t>USP 661/671- Performance Study (U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9866093"/>
                  </a:ext>
                </a:extLst>
              </a:tr>
              <a:tr h="144109">
                <a:tc>
                  <a:txBody>
                    <a:bodyPr/>
                    <a:lstStyle/>
                    <a:p>
                      <a:pPr algn="l" fontAlgn="t"/>
                      <a:r>
                        <a:rPr lang="en-US" sz="1400"/>
                        <a:t>Outsourcing Lab information, for relevant drug substanc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nl-NL" sz="1400"/>
                        <a:t>Melamine Statement</a:t>
                      </a:r>
                      <a:r>
                        <a:rPr lang="nl-NL" altLang="zh-TW" sz="1400"/>
                        <a:t>, if applicable</a:t>
                      </a:r>
                      <a:endParaRPr lang="nl-NL" sz="1400"/>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US" sz="1400"/>
                        <a:t>LOA For DMF(U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3062614"/>
                  </a:ext>
                </a:extLst>
              </a:tr>
              <a:tr h="144109">
                <a:tc>
                  <a:txBody>
                    <a:bodyPr/>
                    <a:lstStyle/>
                    <a:p>
                      <a:pPr algn="l" fontAlgn="t"/>
                      <a:r>
                        <a:rPr lang="en-US" sz="1400"/>
                        <a:t>GMP statement for intermediate and starting material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nl-NL" altLang="zh-TW" sz="1400"/>
                        <a:t>Non-gmo Statement, if applicabl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a:ln>
                            <a:noFill/>
                          </a:ln>
                          <a:solidFill>
                            <a:srgbClr val="282828"/>
                          </a:solidFill>
                          <a:effectLst/>
                          <a:uLnTx/>
                          <a:uFillTx/>
                          <a:latin typeface="Montserrat"/>
                          <a:ea typeface="+mn-ea"/>
                          <a:cs typeface="+mn-cs"/>
                        </a:rPr>
                        <a: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6573881"/>
                  </a:ext>
                </a:extLst>
              </a:tr>
              <a:tr h="144109">
                <a:tc>
                  <a:txBody>
                    <a:bodyPr/>
                    <a:lstStyle/>
                    <a:p>
                      <a:pPr algn="l" fontAlgn="t"/>
                      <a:r>
                        <a:rPr lang="en-US" sz="1400"/>
                        <a:t>Structural elucidation report for primary standards and COA</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nl-NL" altLang="zh-TW" sz="1400"/>
                        <a:t>Compositions, Premix Excipient Such As Opadry, Hard Capsule, SMCC Etc..</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a:ln>
                            <a:noFill/>
                          </a:ln>
                          <a:solidFill>
                            <a:srgbClr val="282828"/>
                          </a:solidFill>
                          <a:effectLst/>
                          <a:uLnTx/>
                          <a:uFillTx/>
                          <a:latin typeface="Montserrat"/>
                          <a:ea typeface="+mn-ea"/>
                          <a:cs typeface="+mn-cs"/>
                        </a:rPr>
                        <a: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2253583"/>
                  </a:ext>
                </a:extLst>
              </a:tr>
              <a:tr h="144109">
                <a:tc>
                  <a:txBody>
                    <a:bodyPr/>
                    <a:lstStyle/>
                    <a:p>
                      <a:pPr algn="l" fontAlgn="t"/>
                      <a:r>
                        <a:rPr lang="en-US" sz="1400"/>
                        <a: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nl-NL" altLang="zh-TW" sz="1400"/>
                        <a:t>Allergen Statemen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a:ln>
                            <a:noFill/>
                          </a:ln>
                          <a:solidFill>
                            <a:srgbClr val="282828"/>
                          </a:solidFill>
                          <a:effectLst/>
                          <a:uLnTx/>
                          <a:uFillTx/>
                          <a:latin typeface="Montserrat"/>
                          <a:ea typeface="+mn-ea"/>
                          <a:cs typeface="+mn-cs"/>
                        </a:rPr>
                        <a: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0136810"/>
                  </a:ext>
                </a:extLst>
              </a:tr>
              <a:tr h="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a:ln>
                            <a:noFill/>
                          </a:ln>
                          <a:solidFill>
                            <a:srgbClr val="282828"/>
                          </a:solidFill>
                          <a:effectLst/>
                          <a:uLnTx/>
                          <a:uFillTx/>
                          <a:latin typeface="Montserrat"/>
                          <a:ea typeface="+mn-ea"/>
                          <a:cs typeface="+mn-cs"/>
                        </a:rPr>
                        <a: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nl-NL" altLang="zh-TW" sz="1400">
                          <a:solidFill>
                            <a:schemeClr val="tx2">
                              <a:lumMod val="75000"/>
                            </a:schemeClr>
                          </a:solidFill>
                        </a:rPr>
                        <a:t>Confirmation of USPNF&amp;EP compliance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a:ln>
                            <a:noFill/>
                          </a:ln>
                          <a:solidFill>
                            <a:srgbClr val="282828"/>
                          </a:solidFill>
                          <a:effectLst/>
                          <a:uLnTx/>
                          <a:uFillTx/>
                          <a:latin typeface="Montserrat"/>
                          <a:ea typeface="+mn-ea"/>
                          <a:cs typeface="+mn-cs"/>
                        </a:rPr>
                        <a: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7098371"/>
                  </a:ext>
                </a:extLst>
              </a:tr>
              <a:tr h="144109">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a:ln>
                            <a:noFill/>
                          </a:ln>
                          <a:solidFill>
                            <a:srgbClr val="282828"/>
                          </a:solidFill>
                          <a:effectLst/>
                          <a:uLnTx/>
                          <a:uFillTx/>
                          <a:latin typeface="Montserrat"/>
                          <a:ea typeface="+mn-ea"/>
                          <a:cs typeface="+mn-cs"/>
                        </a:rPr>
                        <a: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nl-NL" altLang="zh-TW" sz="1400"/>
                        <a:t>Confiramtion of JP/JFE compliance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altLang="zh-TW" sz="1400" b="0" i="0" u="none" strike="noStrike" kern="1200" cap="none" spc="0" normalizeH="0" baseline="0" noProof="0">
                          <a:ln>
                            <a:noFill/>
                          </a:ln>
                          <a:solidFill>
                            <a:srgbClr val="282828"/>
                          </a:solidFill>
                          <a:effectLst/>
                          <a:uLnTx/>
                          <a:uFillTx/>
                          <a:latin typeface="Montserrat"/>
                          <a:ea typeface="+mn-ea"/>
                          <a:cs typeface="+mn-cs"/>
                        </a:rPr>
                        <a:t>-</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9262464"/>
                  </a:ext>
                </a:extLst>
              </a:tr>
            </a:tbl>
          </a:graphicData>
        </a:graphic>
      </p:graphicFrame>
    </p:spTree>
    <p:extLst>
      <p:ext uri="{BB962C8B-B14F-4D97-AF65-F5344CB8AC3E}">
        <p14:creationId xmlns:p14="http://schemas.microsoft.com/office/powerpoint/2010/main" val="2344954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字版面配置區 1">
            <a:extLst>
              <a:ext uri="{FF2B5EF4-FFF2-40B4-BE49-F238E27FC236}">
                <a16:creationId xmlns:a16="http://schemas.microsoft.com/office/drawing/2014/main" id="{6C982C88-E72A-A6C4-F0CF-7AC3EE1A76C3}"/>
              </a:ext>
            </a:extLst>
          </p:cNvPr>
          <p:cNvSpPr>
            <a:spLocks noGrp="1"/>
          </p:cNvSpPr>
          <p:nvPr>
            <p:ph type="body" sz="quarter" idx="13"/>
          </p:nvPr>
        </p:nvSpPr>
        <p:spPr>
          <a:xfrm>
            <a:off x="801044" y="1921804"/>
            <a:ext cx="10076225" cy="2111556"/>
          </a:xfrm>
        </p:spPr>
        <p:txBody>
          <a:bodyPr>
            <a:normAutofit/>
          </a:bodyPr>
          <a:lstStyle/>
          <a:p>
            <a:r>
              <a:rPr lang="en-US" altLang="zh-TW" sz="1600"/>
              <a:t>DMF is important for us to evaluate when it is new alternative source or there is any changes. (</a:t>
            </a:r>
            <a:r>
              <a:rPr lang="zh-CN" altLang="en-US" sz="1600"/>
              <a:t>完整</a:t>
            </a:r>
            <a:r>
              <a:rPr lang="en-US" altLang="zh-CN" sz="1600"/>
              <a:t>DMF</a:t>
            </a:r>
            <a:r>
              <a:rPr lang="zh-CN" altLang="en-US" sz="1600"/>
              <a:t>文件對評估一個新來源原料或原料變更非常重要</a:t>
            </a:r>
            <a:r>
              <a:rPr lang="en-US" altLang="zh-TW" sz="1600"/>
              <a:t>)</a:t>
            </a:r>
          </a:p>
          <a:p>
            <a:r>
              <a:rPr lang="en-US" altLang="zh-TW" sz="1600"/>
              <a:t>For DMF RP, we understand RP is confidential, but we need to understand the changes in RP when there is any changes, this help to evaluate the variation level. (DMF </a:t>
            </a:r>
            <a:r>
              <a:rPr lang="zh-CN" altLang="en-US" sz="1600"/>
              <a:t>變更層級需依據</a:t>
            </a:r>
            <a:r>
              <a:rPr lang="en-US" altLang="zh-CN" sz="1600"/>
              <a:t>AP</a:t>
            </a:r>
            <a:r>
              <a:rPr lang="zh-CN" altLang="en-US" sz="1600"/>
              <a:t>及</a:t>
            </a:r>
            <a:r>
              <a:rPr lang="en-US" altLang="zh-CN" sz="1600"/>
              <a:t>RP</a:t>
            </a:r>
            <a:r>
              <a:rPr lang="zh-CN" altLang="en-US" sz="1600"/>
              <a:t>的變更内容來評估，因此，</a:t>
            </a:r>
            <a:r>
              <a:rPr lang="en-US" altLang="zh-CN" sz="1600"/>
              <a:t>RP</a:t>
            </a:r>
            <a:r>
              <a:rPr lang="zh-CN" altLang="en-US" sz="1600"/>
              <a:t>中變更資訊非常重要</a:t>
            </a:r>
            <a:r>
              <a:rPr lang="en-US" altLang="zh-TW" sz="1600"/>
              <a:t>)</a:t>
            </a:r>
          </a:p>
          <a:p>
            <a:r>
              <a:rPr lang="en-US" altLang="zh-TW" sz="1600"/>
              <a:t>Don’t change the </a:t>
            </a:r>
            <a:r>
              <a:rPr lang="en-US" altLang="zh-CN" sz="1600"/>
              <a:t>D</a:t>
            </a:r>
            <a:r>
              <a:rPr lang="en-US" altLang="zh-TW" sz="1600"/>
              <a:t>MF/CEP so frequently, this help to reduce the variations. (</a:t>
            </a:r>
            <a:r>
              <a:rPr lang="zh-CN" altLang="en-US" sz="1600"/>
              <a:t>請盡可能減少</a:t>
            </a:r>
            <a:r>
              <a:rPr lang="en-US" altLang="zh-CN" sz="1600"/>
              <a:t>DMF</a:t>
            </a:r>
            <a:r>
              <a:rPr lang="zh-CN" altLang="en-US" sz="1600"/>
              <a:t>及</a:t>
            </a:r>
            <a:r>
              <a:rPr lang="en-US" altLang="zh-CN" sz="1600"/>
              <a:t>CEP</a:t>
            </a:r>
            <a:r>
              <a:rPr lang="zh-CN" altLang="en-US" sz="1600"/>
              <a:t>變更的頻率</a:t>
            </a:r>
            <a:r>
              <a:rPr lang="en-US" altLang="zh-TW" sz="1600"/>
              <a:t>)</a:t>
            </a:r>
            <a:endParaRPr lang="zh-TW" altLang="en-US" sz="1600"/>
          </a:p>
        </p:txBody>
      </p:sp>
      <p:sp>
        <p:nvSpPr>
          <p:cNvPr id="3" name="投影片編號版面配置區 2">
            <a:extLst>
              <a:ext uri="{FF2B5EF4-FFF2-40B4-BE49-F238E27FC236}">
                <a16:creationId xmlns:a16="http://schemas.microsoft.com/office/drawing/2014/main" id="{FE214503-6303-4018-4D42-E69B4297008D}"/>
              </a:ext>
            </a:extLst>
          </p:cNvPr>
          <p:cNvSpPr>
            <a:spLocks noGrp="1"/>
          </p:cNvSpPr>
          <p:nvPr>
            <p:ph type="sldNum" sz="quarter" idx="4"/>
          </p:nvPr>
        </p:nvSpPr>
        <p:spPr/>
        <p:txBody>
          <a:bodyPr/>
          <a:lstStyle/>
          <a:p>
            <a:fld id="{4C0C40C3-3CCF-4B11-80C9-BCC62D2234EE}" type="slidenum">
              <a:rPr lang="en-US" smtClean="0"/>
              <a:pPr/>
              <a:t>9</a:t>
            </a:fld>
            <a:endParaRPr lang="en-US"/>
          </a:p>
        </p:txBody>
      </p:sp>
      <p:sp>
        <p:nvSpPr>
          <p:cNvPr id="4" name="標題 3">
            <a:extLst>
              <a:ext uri="{FF2B5EF4-FFF2-40B4-BE49-F238E27FC236}">
                <a16:creationId xmlns:a16="http://schemas.microsoft.com/office/drawing/2014/main" id="{AD015736-D7C3-E267-D2ED-F68437F451F8}"/>
              </a:ext>
            </a:extLst>
          </p:cNvPr>
          <p:cNvSpPr>
            <a:spLocks noGrp="1"/>
          </p:cNvSpPr>
          <p:nvPr>
            <p:ph type="title"/>
          </p:nvPr>
        </p:nvSpPr>
        <p:spPr>
          <a:xfrm>
            <a:off x="598311" y="1501540"/>
            <a:ext cx="9504181" cy="276999"/>
          </a:xfrm>
        </p:spPr>
        <p:txBody>
          <a:bodyPr/>
          <a:lstStyle/>
          <a:p>
            <a:r>
              <a:rPr lang="en-US" altLang="zh-TW" sz="2000" b="1"/>
              <a:t>Drug substance</a:t>
            </a:r>
            <a:endParaRPr lang="zh-TW" altLang="en-US" sz="2000" b="1"/>
          </a:p>
        </p:txBody>
      </p:sp>
      <p:sp>
        <p:nvSpPr>
          <p:cNvPr id="5" name="標題 3">
            <a:extLst>
              <a:ext uri="{FF2B5EF4-FFF2-40B4-BE49-F238E27FC236}">
                <a16:creationId xmlns:a16="http://schemas.microsoft.com/office/drawing/2014/main" id="{CF48AE5D-4276-0292-D279-371730C149DE}"/>
              </a:ext>
            </a:extLst>
          </p:cNvPr>
          <p:cNvSpPr txBox="1">
            <a:spLocks/>
          </p:cNvSpPr>
          <p:nvPr/>
        </p:nvSpPr>
        <p:spPr>
          <a:xfrm>
            <a:off x="598311" y="4316796"/>
            <a:ext cx="10030457" cy="2769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600" b="0" kern="1200">
                <a:solidFill>
                  <a:schemeClr val="tx1"/>
                </a:solidFill>
                <a:latin typeface="+mj-lt"/>
                <a:ea typeface="+mj-ea"/>
                <a:cs typeface="+mj-cs"/>
              </a:defRPr>
            </a:lvl1pPr>
          </a:lstStyle>
          <a:p>
            <a:r>
              <a:rPr lang="en-US" altLang="zh-TW" sz="2000" b="1"/>
              <a:t>Excipient &amp; package material</a:t>
            </a:r>
            <a:endParaRPr lang="zh-TW" altLang="en-US" sz="2000" b="1"/>
          </a:p>
        </p:txBody>
      </p:sp>
      <p:sp>
        <p:nvSpPr>
          <p:cNvPr id="6" name="文字版面配置區 1">
            <a:extLst>
              <a:ext uri="{FF2B5EF4-FFF2-40B4-BE49-F238E27FC236}">
                <a16:creationId xmlns:a16="http://schemas.microsoft.com/office/drawing/2014/main" id="{5AB30435-416C-22BD-49B1-18DABBEB1BE2}"/>
              </a:ext>
            </a:extLst>
          </p:cNvPr>
          <p:cNvSpPr txBox="1">
            <a:spLocks/>
          </p:cNvSpPr>
          <p:nvPr/>
        </p:nvSpPr>
        <p:spPr>
          <a:xfrm>
            <a:off x="801044" y="4808757"/>
            <a:ext cx="10030457" cy="1505779"/>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buClr>
                <a:schemeClr val="tx2"/>
              </a:buClr>
              <a:buFont typeface="Wingdings" panose="05000000000000000000" pitchFamily="2" charset="2"/>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1000"/>
              </a:spcBef>
              <a:buClr>
                <a:schemeClr val="tx2"/>
              </a:buClr>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100000"/>
              </a:lnSpc>
              <a:spcBef>
                <a:spcPts val="1000"/>
              </a:spcBef>
              <a:buClr>
                <a:schemeClr val="tx2"/>
              </a:buClr>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1000"/>
              </a:spcBef>
              <a:buClr>
                <a:schemeClr val="tx2"/>
              </a:buClr>
              <a:buFont typeface="Wingdings" panose="05000000000000000000" pitchFamily="2" charset="2"/>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1000"/>
              </a:spcBef>
              <a:buClr>
                <a:schemeClr val="tx2"/>
              </a:buClr>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TW" sz="1600"/>
              <a:t>If there is any plan to stop the supply, please inform us in advance. It will take time to introduce a new source although  the specification remain same. (</a:t>
            </a:r>
            <a:r>
              <a:rPr lang="zh-CN" altLang="en-US" sz="1600"/>
              <a:t>如果有已知任何停產計劃，請儘早通知，對於有些市場來説，新增來源仍需等待官方核准，即使規格沒有改變</a:t>
            </a:r>
            <a:r>
              <a:rPr lang="en-US" altLang="zh-TW" sz="1600"/>
              <a:t>)</a:t>
            </a:r>
          </a:p>
          <a:p>
            <a:r>
              <a:rPr lang="en-US" altLang="zh-CN" sz="1600"/>
              <a:t>If there is any change proposed by supplier, please inform us immediately. (</a:t>
            </a:r>
            <a:r>
              <a:rPr lang="zh-CN" altLang="en-US" sz="1600"/>
              <a:t>如果有任何變更，請立即通知</a:t>
            </a:r>
            <a:r>
              <a:rPr lang="en-US" altLang="zh-CN" sz="1600"/>
              <a:t>)</a:t>
            </a:r>
            <a:endParaRPr lang="en-US" altLang="zh-TW" sz="1600"/>
          </a:p>
          <a:p>
            <a:endParaRPr lang="zh-TW" altLang="en-US" sz="1600"/>
          </a:p>
        </p:txBody>
      </p:sp>
      <p:sp>
        <p:nvSpPr>
          <p:cNvPr id="7" name="標題 3">
            <a:extLst>
              <a:ext uri="{FF2B5EF4-FFF2-40B4-BE49-F238E27FC236}">
                <a16:creationId xmlns:a16="http://schemas.microsoft.com/office/drawing/2014/main" id="{ED538A10-F0E0-01B2-B58F-9F46C48E406C}"/>
              </a:ext>
            </a:extLst>
          </p:cNvPr>
          <p:cNvSpPr txBox="1">
            <a:spLocks/>
          </p:cNvSpPr>
          <p:nvPr/>
        </p:nvSpPr>
        <p:spPr>
          <a:xfrm>
            <a:off x="598311" y="875198"/>
            <a:ext cx="9504181" cy="360099"/>
          </a:xfrm>
          <a:prstGeom prst="rect">
            <a:avLst/>
          </a:prstGeom>
        </p:spPr>
        <p:txBody>
          <a:bodyPr vert="horz" wrap="square" lIns="0" tIns="0" rIns="0" bIns="0" rtlCol="0" anchor="b">
            <a:spAutoFit/>
          </a:bodyPr>
          <a:lstStyle>
            <a:lvl1pPr algn="l" defTabSz="914400" rtl="0" eaLnBrk="1" latinLnBrk="0" hangingPunct="1">
              <a:lnSpc>
                <a:spcPct val="90000"/>
              </a:lnSpc>
              <a:spcBef>
                <a:spcPct val="0"/>
              </a:spcBef>
              <a:buNone/>
              <a:defRPr sz="2600" b="0" kern="1200">
                <a:solidFill>
                  <a:schemeClr val="tx1"/>
                </a:solidFill>
                <a:latin typeface="+mj-lt"/>
                <a:ea typeface="+mj-ea"/>
                <a:cs typeface="+mj-cs"/>
              </a:defRPr>
            </a:lvl1pPr>
          </a:lstStyle>
          <a:p>
            <a:r>
              <a:rPr lang="en-US" altLang="zh-CN" b="1"/>
              <a:t>Expectation from supplier</a:t>
            </a:r>
            <a:endParaRPr lang="zh-TW" altLang="en-US" b="1"/>
          </a:p>
        </p:txBody>
      </p:sp>
    </p:spTree>
    <p:extLst>
      <p:ext uri="{BB962C8B-B14F-4D97-AF65-F5344CB8AC3E}">
        <p14:creationId xmlns:p14="http://schemas.microsoft.com/office/powerpoint/2010/main" val="4535884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I_Vb4oSiSqGTB6JtmxHKw"/>
</p:tagLst>
</file>

<file path=ppt/theme/theme1.xml><?xml version="1.0" encoding="utf-8"?>
<a:theme xmlns:a="http://schemas.openxmlformats.org/drawingml/2006/main" name="Alvotech Superuser2018">
  <a:themeElements>
    <a:clrScheme name="Alvotech Color Palette">
      <a:dk1>
        <a:srgbClr val="282828"/>
      </a:dk1>
      <a:lt1>
        <a:srgbClr val="FFFFFF"/>
      </a:lt1>
      <a:dk2>
        <a:srgbClr val="F99F1B"/>
      </a:dk2>
      <a:lt2>
        <a:srgbClr val="E7E6E6"/>
      </a:lt2>
      <a:accent1>
        <a:srgbClr val="F99F1B"/>
      </a:accent1>
      <a:accent2>
        <a:srgbClr val="373737"/>
      </a:accent2>
      <a:accent3>
        <a:srgbClr val="B4B4B4"/>
      </a:accent3>
      <a:accent4>
        <a:srgbClr val="9BBBCB"/>
      </a:accent4>
      <a:accent5>
        <a:srgbClr val="FAFAFA"/>
      </a:accent5>
      <a:accent6>
        <a:srgbClr val="AF4B1B"/>
      </a:accent6>
      <a:hlink>
        <a:srgbClr val="323C5A"/>
      </a:hlink>
      <a:folHlink>
        <a:srgbClr val="F99F1B"/>
      </a:folHlink>
    </a:clrScheme>
    <a:fontScheme name="Montserrat">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lvotech Superuser2018" id="{673DF269-4621-4D80-980B-49D9B144C022}" vid="{810824C0-E83E-4B17-96AF-524C6354B957}"/>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A4840E8F4854647847DA1D06E181BF8" ma:contentTypeVersion="15" ma:contentTypeDescription="Create a new document." ma:contentTypeScope="" ma:versionID="0d9388546de65be1790dedeee414f6d0">
  <xsd:schema xmlns:xsd="http://www.w3.org/2001/XMLSchema" xmlns:xs="http://www.w3.org/2001/XMLSchema" xmlns:p="http://schemas.microsoft.com/office/2006/metadata/properties" xmlns:ns2="adc22d04-eb36-4635-9933-dd104a0947c1" xmlns:ns3="c9c8e155-9d0f-426c-85f1-89ffa25d60b5" targetNamespace="http://schemas.microsoft.com/office/2006/metadata/properties" ma:root="true" ma:fieldsID="129a393395273847632e06ed55f3b911" ns2:_="" ns3:_="">
    <xsd:import namespace="adc22d04-eb36-4635-9933-dd104a0947c1"/>
    <xsd:import namespace="c9c8e155-9d0f-426c-85f1-89ffa25d60b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DateTaken" minOccurs="0"/>
                <xsd:element ref="ns3:MediaLengthInSeconds" minOccurs="0"/>
                <xsd:element ref="ns3:MediaServiceLocation"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c22d04-eb36-4635-9933-dd104a0947c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0c074dc5-00c8-4b6f-9455-02a6d085bc66}" ma:internalName="TaxCatchAll" ma:showField="CatchAllData" ma:web="adc22d04-eb36-4635-9933-dd104a0947c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9c8e155-9d0f-426c-85f1-89ffa25d60b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e03d02f-17c5-45e4-a0f3-b2bb17e2cc12"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adc22d04-eb36-4635-9933-dd104a0947c1" xsi:nil="true"/>
    <lcf76f155ced4ddcb4097134ff3c332f xmlns="c9c8e155-9d0f-426c-85f1-89ffa25d60b5">
      <Terms xmlns="http://schemas.microsoft.com/office/infopath/2007/PartnerControls"/>
    </lcf76f155ced4ddcb4097134ff3c332f>
    <SharedWithUsers xmlns="adc22d04-eb36-4635-9933-dd104a0947c1">
      <UserInfo>
        <DisplayName>YunHsuan Chung (PS) 鍾昀軒</DisplayName>
        <AccountId>35</AccountId>
        <AccountType/>
      </UserInfo>
      <UserInfo>
        <DisplayName>Lucian Florin Marcu</DisplayName>
        <AccountId>448</AccountId>
        <AccountType/>
      </UserInfo>
      <UserInfo>
        <DisplayName>Yingming Yue</DisplayName>
        <AccountId>317</AccountId>
        <AccountType/>
      </UserInfo>
      <UserInfo>
        <DisplayName>Aditiya Chauhan (RA)</DisplayName>
        <AccountId>178</AccountId>
        <AccountType/>
      </UserInfo>
      <UserInfo>
        <DisplayName>Winnie.Chen (RA) 陳筠婷</DisplayName>
        <AccountId>165</AccountId>
        <AccountType/>
      </UserInfo>
      <UserInfo>
        <DisplayName>Julia.Lin (RA) 林翊均</DisplayName>
        <AccountId>449</AccountId>
        <AccountType/>
      </UserInfo>
      <UserInfo>
        <DisplayName>Sophy.Lee (OQ) 李佳欣</DisplayName>
        <AccountId>138</AccountId>
        <AccountType/>
      </UserInfo>
      <UserInfo>
        <DisplayName>Evelyn Leo (QU) 梁婉玲</DisplayName>
        <AccountId>450</AccountId>
        <AccountType/>
      </UserInfo>
      <UserInfo>
        <DisplayName>Dennis.Tan (QU) 陳文忠</DisplayName>
        <AccountId>451</AccountId>
        <AccountType/>
      </UserInfo>
      <UserInfo>
        <DisplayName>Subrata Kundu (TS)</DisplayName>
        <AccountId>452</AccountId>
        <AccountType/>
      </UserInfo>
      <UserInfo>
        <DisplayName>Yuhan.Kao (PMO) 高于涵</DisplayName>
        <AccountId>453</AccountId>
        <AccountType/>
      </UserInfo>
      <UserInfo>
        <DisplayName>Jennifer.Chen (PS) 陳世瑩</DisplayName>
        <AccountId>19</AccountId>
        <AccountType/>
      </UserInfo>
      <UserInfo>
        <DisplayName>Aila Chen (PS) 陳彥伶</DisplayName>
        <AccountId>14</AccountId>
        <AccountType/>
      </UserInfo>
      <UserInfo>
        <DisplayName>Deekshit N Raj</DisplayName>
        <AccountId>31</AccountId>
        <AccountType/>
      </UserInfo>
      <UserInfo>
        <DisplayName>Dheeraj Kumar</DisplayName>
        <AccountId>37</AccountId>
        <AccountType/>
      </UserInfo>
      <UserInfo>
        <DisplayName>Greta Yin (PS) 殷惠束</DisplayName>
        <AccountId>44</AccountId>
        <AccountType/>
      </UserInfo>
      <UserInfo>
        <DisplayName>Amit Razdan</DisplayName>
        <AccountId>243</AccountId>
        <AccountType/>
      </UserInfo>
      <UserInfo>
        <DisplayName>Ella.Tsai (PS) 蔡惠雯</DisplayName>
        <AccountId>17</AccountId>
        <AccountType/>
      </UserInfo>
      <UserInfo>
        <DisplayName>Carol.Hsu (PS) 許采然</DisplayName>
        <AccountId>16</AccountId>
        <AccountType/>
      </UserInfo>
      <UserInfo>
        <DisplayName>Kelvin Chen (PS) 陳金應</DisplayName>
        <AccountId>972</AccountId>
        <AccountType/>
      </UserInfo>
      <UserInfo>
        <DisplayName>Eve Chen 陳玟伊</DisplayName>
        <AccountId>1044</AccountId>
        <AccountType/>
      </UserInfo>
      <UserInfo>
        <DisplayName>Joopyo(Keith) Kim 김주표</DisplayName>
        <AccountId>36</AccountId>
        <AccountType/>
      </UserInfo>
      <UserInfo>
        <DisplayName>Doosa Rahul</DisplayName>
        <AccountId>1151</AccountId>
        <AccountType/>
      </UserInfo>
      <UserInfo>
        <DisplayName>Betty.Chiu (PT) 邱佩晴</DisplayName>
        <AccountId>144</AccountId>
        <AccountType/>
      </UserInfo>
      <UserInfo>
        <DisplayName>Keerthi Reddy  Kamanur</DisplayName>
        <AccountId>654</AccountId>
        <AccountType/>
      </UserInfo>
      <UserInfo>
        <DisplayName>JiYeong (Bailey) Huh 허지영</DisplayName>
        <AccountId>96</AccountId>
        <AccountType/>
      </UserInfo>
      <UserInfo>
        <DisplayName>David Liu</DisplayName>
        <AccountId>670</AccountId>
        <AccountType/>
      </UserInfo>
      <UserInfo>
        <DisplayName>John Cui</DisplayName>
        <AccountId>39</AccountId>
        <AccountType/>
      </UserInfo>
      <UserInfo>
        <DisplayName>Rohith Kumar C</DisplayName>
        <AccountId>34</AccountId>
        <AccountType/>
      </UserInfo>
      <UserInfo>
        <DisplayName>Rebecca Liu 劉依茹</DisplayName>
        <AccountId>1189</AccountId>
        <AccountType/>
      </UserInfo>
      <UserInfo>
        <DisplayName>Lucy Hung (PS) 洪麗君</DisplayName>
        <AccountId>33</AccountId>
        <AccountType/>
      </UserInfo>
      <UserInfo>
        <DisplayName>Kenneth Hung (PS) 洪健鈞</DisplayName>
        <AccountId>13</AccountId>
        <AccountType/>
      </UserInfo>
      <UserInfo>
        <DisplayName>Mick Wu  (PS) 吳政峰</DisplayName>
        <AccountId>350</AccountId>
        <AccountType/>
      </UserInfo>
      <UserInfo>
        <DisplayName>Vivian Chang 張嘉文</DisplayName>
        <AccountId>1067</AccountId>
        <AccountType/>
      </UserInfo>
      <UserInfo>
        <DisplayName>MyungJik(MJ) Lee 이명직</DisplayName>
        <AccountId>116</AccountId>
        <AccountType/>
      </UserInfo>
      <UserInfo>
        <DisplayName>JeongHyun Kwon 권정현</DisplayName>
        <AccountId>101</AccountId>
        <AccountType/>
      </UserInfo>
      <UserInfo>
        <DisplayName>Nick Pan 潘高安</DisplayName>
        <AccountId>1294</AccountId>
        <AccountType/>
      </UserInfo>
      <UserInfo>
        <DisplayName>Leo Kuo 郭建志</DisplayName>
        <AccountId>1283</AccountId>
        <AccountType/>
      </UserInfo>
    </SharedWithUsers>
  </documentManagement>
</p:properties>
</file>

<file path=customXml/itemProps1.xml><?xml version="1.0" encoding="utf-8"?>
<ds:datastoreItem xmlns:ds="http://schemas.openxmlformats.org/officeDocument/2006/customXml" ds:itemID="{1B542529-3924-487B-B163-E1EEBD203DD3}">
  <ds:schemaRefs>
    <ds:schemaRef ds:uri="http://schemas.microsoft.com/sharepoint/v3/contenttype/forms"/>
  </ds:schemaRefs>
</ds:datastoreItem>
</file>

<file path=customXml/itemProps2.xml><?xml version="1.0" encoding="utf-8"?>
<ds:datastoreItem xmlns:ds="http://schemas.openxmlformats.org/officeDocument/2006/customXml" ds:itemID="{FE37465E-185D-4358-9E73-74440CD7D14F}">
  <ds:schemaRefs>
    <ds:schemaRef ds:uri="adc22d04-eb36-4635-9933-dd104a0947c1"/>
    <ds:schemaRef ds:uri="c9c8e155-9d0f-426c-85f1-89ffa25d60b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8366571-C771-4DB9-983E-1D6CC52B187A}">
  <ds:schemaRefs>
    <ds:schemaRef ds:uri="http://purl.org/dc/elements/1.1/"/>
    <ds:schemaRef ds:uri="http://schemas.microsoft.com/office/infopath/2007/PartnerControls"/>
    <ds:schemaRef ds:uri="http://purl.org/dc/terms/"/>
    <ds:schemaRef ds:uri="adc22d04-eb36-4635-9933-dd104a0947c1"/>
    <ds:schemaRef ds:uri="http://schemas.openxmlformats.org/package/2006/metadata/core-properties"/>
    <ds:schemaRef ds:uri="c9c8e155-9d0f-426c-85f1-89ffa25d60b5"/>
    <ds:schemaRef ds:uri="http://purl.org/dc/dcmitype/"/>
    <ds:schemaRef ds:uri="http://www.w3.org/XML/1998/namespace"/>
    <ds:schemaRef ds:uri="http://schemas.microsoft.com/office/2006/documentManagement/typ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2</TotalTime>
  <Words>1851</Words>
  <Application>Microsoft Office PowerPoint</Application>
  <PresentationFormat>寬螢幕</PresentationFormat>
  <Paragraphs>356</Paragraphs>
  <Slides>35</Slides>
  <Notes>29</Notes>
  <HiddenSlides>0</HiddenSlides>
  <MMClips>0</MMClips>
  <ScaleCrop>false</ScaleCrop>
  <HeadingPairs>
    <vt:vector size="8" baseType="variant">
      <vt:variant>
        <vt:lpstr>使用字型</vt:lpstr>
      </vt:variant>
      <vt:variant>
        <vt:i4>11</vt:i4>
      </vt:variant>
      <vt:variant>
        <vt:lpstr>佈景主題</vt:lpstr>
      </vt:variant>
      <vt:variant>
        <vt:i4>1</vt:i4>
      </vt:variant>
      <vt:variant>
        <vt:lpstr>內嵌 OLE 伺服程式</vt:lpstr>
      </vt:variant>
      <vt:variant>
        <vt:i4>1</vt:i4>
      </vt:variant>
      <vt:variant>
        <vt:lpstr>投影片標題</vt:lpstr>
      </vt:variant>
      <vt:variant>
        <vt:i4>35</vt:i4>
      </vt:variant>
    </vt:vector>
  </HeadingPairs>
  <TitlesOfParts>
    <vt:vector size="48" baseType="lpstr">
      <vt:lpstr>-apple-system</vt:lpstr>
      <vt:lpstr>BreveText</vt:lpstr>
      <vt:lpstr>Microsoft JhengHei Light</vt:lpstr>
      <vt:lpstr>Aptos</vt:lpstr>
      <vt:lpstr>Arial</vt:lpstr>
      <vt:lpstr>Calibri</vt:lpstr>
      <vt:lpstr>Lato</vt:lpstr>
      <vt:lpstr>Montserrat</vt:lpstr>
      <vt:lpstr>Titillium Web</vt:lpstr>
      <vt:lpstr>Wingdings</vt:lpstr>
      <vt:lpstr>標楷體</vt:lpstr>
      <vt:lpstr>Alvotech Superuser2018</vt:lpstr>
      <vt:lpstr>think-cell Slide</vt:lpstr>
      <vt:lpstr>2024 美時集團供應商會議 Lotus Group Supplier Conference </vt:lpstr>
      <vt:lpstr>Meeting Rules</vt:lpstr>
      <vt:lpstr>Meeting Agenda</vt:lpstr>
      <vt:lpstr>美時與供應商合作共創美好世界 Lotus Collaboration with Suppliers for a Better World</vt:lpstr>
      <vt:lpstr>Regulatory Affairs   by Winnie Chen</vt:lpstr>
      <vt:lpstr>PowerPoint 簡報</vt:lpstr>
      <vt:lpstr>RA Participation!! </vt:lpstr>
      <vt:lpstr>Requirement for submission</vt:lpstr>
      <vt:lpstr>Drug substance</vt:lpstr>
      <vt:lpstr>Variation: Approval timeline differ territories wise for same variation. </vt:lpstr>
      <vt:lpstr>Lotus Vendor Conference</vt:lpstr>
      <vt:lpstr>PowerPoint 簡報</vt:lpstr>
      <vt:lpstr>Cybersecurity Strategy &amp; Practice  </vt:lpstr>
      <vt:lpstr>PowerPoint 簡報</vt:lpstr>
      <vt:lpstr>PowerPoint 簡報</vt:lpstr>
      <vt:lpstr>PowerPoint 簡報</vt:lpstr>
      <vt:lpstr>美時價值鏈</vt:lpstr>
      <vt:lpstr>透過供應商參與連結上下游</vt:lpstr>
      <vt:lpstr>供應商管理計畫</vt:lpstr>
      <vt:lpstr>供應商管理計畫</vt:lpstr>
      <vt:lpstr>供應商管理計畫</vt:lpstr>
      <vt:lpstr>供應商管理計畫</vt:lpstr>
      <vt:lpstr>PowerPoint 簡報</vt:lpstr>
      <vt:lpstr>ESG &amp; Supplier Code of conduct​ 供應商行為準則​</vt:lpstr>
      <vt:lpstr>Commitment Sought 我們承諾</vt:lpstr>
      <vt:lpstr>PowerPoint 簡報</vt:lpstr>
      <vt:lpstr>PowerPoint 簡報</vt:lpstr>
      <vt:lpstr>Environmental sustainability &amp; Impact 永續環境發展 </vt:lpstr>
      <vt:lpstr>PowerPoint 簡報</vt:lpstr>
      <vt:lpstr>PowerPoint 簡報</vt:lpstr>
      <vt:lpstr>PowerPoint 簡報</vt:lpstr>
      <vt:lpstr>PowerPoint 簡報</vt:lpstr>
      <vt:lpstr>供應商入口網站 Supplier Portal     by Rebecca Liu</vt:lpstr>
      <vt:lpstr>供應商入口網站 Connect data share between supplier and Lotus</vt:lpstr>
      <vt:lpstr>感謝聆聽 Thank you for your particip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upont Warning Letter – US Site</dc:title>
  <dc:creator>Deekshit N Raj</dc:creator>
  <cp:lastModifiedBy>Anne Lu(CG)盧怡安</cp:lastModifiedBy>
  <cp:revision>3</cp:revision>
  <dcterms:created xsi:type="dcterms:W3CDTF">2023-03-09T11:09:08Z</dcterms:created>
  <dcterms:modified xsi:type="dcterms:W3CDTF">2024-11-25T02:0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4840E8F4854647847DA1D06E181BF8</vt:lpwstr>
  </property>
  <property fmtid="{D5CDD505-2E9C-101B-9397-08002B2CF9AE}" pid="3" name="MediaServiceImageTags">
    <vt:lpwstr/>
  </property>
</Properties>
</file>